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7"/>
  </p:sldMasterIdLst>
  <p:notesMasterIdLst>
    <p:notesMasterId r:id="rId13"/>
  </p:notesMasterIdLst>
  <p:handoutMasterIdLst>
    <p:handoutMasterId r:id="rId14"/>
  </p:handoutMasterIdLst>
  <p:sldIdLst>
    <p:sldId id="259" r:id="rId8"/>
    <p:sldId id="260" r:id="rId9"/>
    <p:sldId id="261" r:id="rId10"/>
    <p:sldId id="262" r:id="rId11"/>
    <p:sldId id="263" r:id="rId12"/>
  </p:sldIdLst>
  <p:sldSz cx="12192000" cy="6858000"/>
  <p:notesSz cx="6669088" cy="9926638"/>
  <p:custDataLst>
    <p:tags r:id="rId15"/>
  </p:custDataLst>
  <p:defaultTextStyle>
    <a:defPPr>
      <a:defRPr lang="de-CH"/>
    </a:defPPr>
    <a:lvl1pPr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73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5">
          <p15:clr>
            <a:srgbClr val="A4A3A4"/>
          </p15:clr>
        </p15:guide>
        <p15:guide id="2" pos="21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0513"/>
    <a:srgbClr val="00AE6D"/>
    <a:srgbClr val="E40613"/>
    <a:srgbClr val="9AD5B7"/>
    <a:srgbClr val="8FB0D0"/>
    <a:srgbClr val="00E86D"/>
    <a:srgbClr val="E20613"/>
    <a:srgbClr val="CC0000"/>
    <a:srgbClr val="00EA6A"/>
    <a:srgbClr val="00FA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439" autoAdjust="0"/>
    <p:restoredTop sz="84953" autoAdjust="0"/>
  </p:normalViewPr>
  <p:slideViewPr>
    <p:cSldViewPr snapToGrid="0" showGuides="1">
      <p:cViewPr>
        <p:scale>
          <a:sx n="79" d="100"/>
          <a:sy n="79" d="100"/>
        </p:scale>
        <p:origin x="8" y="1832"/>
      </p:cViewPr>
      <p:guideLst>
        <p:guide orient="horz" pos="2273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46" d="100"/>
          <a:sy n="146" d="100"/>
        </p:scale>
        <p:origin x="5968" y="192"/>
      </p:cViewPr>
      <p:guideLst>
        <p:guide orient="horz" pos="3125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5" Type="http://schemas.openxmlformats.org/officeDocument/2006/relationships/customXml" Target="../customXml/item5.xml"/><Relationship Id="rId15" Type="http://schemas.openxmlformats.org/officeDocument/2006/relationships/tags" Target="tags/tag1.xml"/><Relationship Id="rId10" Type="http://schemas.openxmlformats.org/officeDocument/2006/relationships/slide" Target="slides/slide3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71BF76D-9178-6745-927D-6B9C8DB23363}" type="doc">
      <dgm:prSet loTypeId="urn:microsoft.com/office/officeart/2005/8/layout/hChevron3" loCatId="" qsTypeId="urn:microsoft.com/office/officeart/2005/8/quickstyle/simple1" qsCatId="simple" csTypeId="urn:microsoft.com/office/officeart/2005/8/colors/accent1_3" csCatId="accent1" phldr="1"/>
      <dgm:spPr/>
    </dgm:pt>
    <dgm:pt modelId="{DC22FC0F-367D-FE49-AB50-F8300C76F67A}">
      <dgm:prSet phldrT="[Text]"/>
      <dgm:spPr/>
      <dgm:t>
        <a:bodyPr/>
        <a:lstStyle/>
        <a:p>
          <a:r>
            <a:rPr lang="de-DE" dirty="0"/>
            <a:t>Antragsteller </a:t>
          </a:r>
        </a:p>
      </dgm:t>
    </dgm:pt>
    <dgm:pt modelId="{3DAA34E8-C361-CC48-BDFB-AE1DA108A3FA}" type="parTrans" cxnId="{64446F15-7420-EF48-90EE-301FD870B6F6}">
      <dgm:prSet/>
      <dgm:spPr/>
      <dgm:t>
        <a:bodyPr/>
        <a:lstStyle/>
        <a:p>
          <a:endParaRPr lang="de-DE"/>
        </a:p>
      </dgm:t>
    </dgm:pt>
    <dgm:pt modelId="{2F3B8960-7415-C045-AE54-8E4C42CF909B}" type="sibTrans" cxnId="{64446F15-7420-EF48-90EE-301FD870B6F6}">
      <dgm:prSet/>
      <dgm:spPr/>
      <dgm:t>
        <a:bodyPr/>
        <a:lstStyle/>
        <a:p>
          <a:endParaRPr lang="de-DE"/>
        </a:p>
      </dgm:t>
    </dgm:pt>
    <dgm:pt modelId="{7C72E93D-2E08-D242-938D-7EED94B07CF4}">
      <dgm:prSet phldrT="[Text]"/>
      <dgm:spPr/>
      <dgm:t>
        <a:bodyPr/>
        <a:lstStyle/>
        <a:p>
          <a:r>
            <a:rPr lang="de-DE" dirty="0"/>
            <a:t>Change Manager</a:t>
          </a:r>
        </a:p>
      </dgm:t>
    </dgm:pt>
    <dgm:pt modelId="{7C082418-FE2E-154D-8F2B-83DB9C78888C}" type="parTrans" cxnId="{1A9F126E-A23D-7140-A2A1-68EB657CACE7}">
      <dgm:prSet/>
      <dgm:spPr/>
      <dgm:t>
        <a:bodyPr/>
        <a:lstStyle/>
        <a:p>
          <a:endParaRPr lang="de-DE"/>
        </a:p>
      </dgm:t>
    </dgm:pt>
    <dgm:pt modelId="{A53A776B-B399-2B40-80C8-B5D3BC73C087}" type="sibTrans" cxnId="{1A9F126E-A23D-7140-A2A1-68EB657CACE7}">
      <dgm:prSet/>
      <dgm:spPr/>
      <dgm:t>
        <a:bodyPr/>
        <a:lstStyle/>
        <a:p>
          <a:endParaRPr lang="de-DE"/>
        </a:p>
      </dgm:t>
    </dgm:pt>
    <dgm:pt modelId="{182EFA78-006A-7C4E-AB53-7B0CE08A9FDC}">
      <dgm:prSet phldrT="[Text]"/>
      <dgm:spPr/>
      <dgm:t>
        <a:bodyPr/>
        <a:lstStyle/>
        <a:p>
          <a:r>
            <a:rPr lang="de-DE" dirty="0"/>
            <a:t>Entwickler</a:t>
          </a:r>
        </a:p>
      </dgm:t>
    </dgm:pt>
    <dgm:pt modelId="{5E6A40BA-95C6-AD4B-9FCE-4E46E31B9C20}" type="parTrans" cxnId="{900E1E42-4712-E144-995E-9568818F3DB9}">
      <dgm:prSet/>
      <dgm:spPr/>
      <dgm:t>
        <a:bodyPr/>
        <a:lstStyle/>
        <a:p>
          <a:endParaRPr lang="de-DE"/>
        </a:p>
      </dgm:t>
    </dgm:pt>
    <dgm:pt modelId="{EFD26812-EB99-AD47-A465-56E7FE767263}" type="sibTrans" cxnId="{900E1E42-4712-E144-995E-9568818F3DB9}">
      <dgm:prSet/>
      <dgm:spPr/>
      <dgm:t>
        <a:bodyPr/>
        <a:lstStyle/>
        <a:p>
          <a:endParaRPr lang="de-DE"/>
        </a:p>
      </dgm:t>
    </dgm:pt>
    <dgm:pt modelId="{91C840CC-8015-F047-912B-FF8E7307E56C}">
      <dgm:prSet/>
      <dgm:spPr/>
      <dgm:t>
        <a:bodyPr/>
        <a:lstStyle/>
        <a:p>
          <a:r>
            <a:rPr lang="de-DE" dirty="0"/>
            <a:t>Tester</a:t>
          </a:r>
        </a:p>
      </dgm:t>
    </dgm:pt>
    <dgm:pt modelId="{E1B1DE99-7D5D-4147-920E-6584992D82AD}" type="parTrans" cxnId="{98F598F9-E183-0546-87F7-22C1070D3A42}">
      <dgm:prSet/>
      <dgm:spPr/>
      <dgm:t>
        <a:bodyPr/>
        <a:lstStyle/>
        <a:p>
          <a:endParaRPr lang="de-DE"/>
        </a:p>
      </dgm:t>
    </dgm:pt>
    <dgm:pt modelId="{9CF9AB6E-88CC-1F4E-896C-A7225654DD5F}" type="sibTrans" cxnId="{98F598F9-E183-0546-87F7-22C1070D3A42}">
      <dgm:prSet/>
      <dgm:spPr/>
      <dgm:t>
        <a:bodyPr/>
        <a:lstStyle/>
        <a:p>
          <a:endParaRPr lang="de-DE"/>
        </a:p>
      </dgm:t>
    </dgm:pt>
    <dgm:pt modelId="{2E019A1F-9A9E-E146-9F51-267D24AEFAE4}">
      <dgm:prSet/>
      <dgm:spPr/>
      <dgm:t>
        <a:bodyPr/>
        <a:lstStyle/>
        <a:p>
          <a:r>
            <a:rPr lang="de-DE" dirty="0"/>
            <a:t>IT Operator</a:t>
          </a:r>
        </a:p>
      </dgm:t>
    </dgm:pt>
    <dgm:pt modelId="{07A2A3F7-A824-014D-AEF4-CD89BBEBA46B}" type="parTrans" cxnId="{9C457BAC-8B79-FA48-BAED-D46CB8E21F13}">
      <dgm:prSet/>
      <dgm:spPr/>
      <dgm:t>
        <a:bodyPr/>
        <a:lstStyle/>
        <a:p>
          <a:endParaRPr lang="de-DE"/>
        </a:p>
      </dgm:t>
    </dgm:pt>
    <dgm:pt modelId="{FAE8032E-B573-FD4C-B4BA-E07A52400004}" type="sibTrans" cxnId="{9C457BAC-8B79-FA48-BAED-D46CB8E21F13}">
      <dgm:prSet/>
      <dgm:spPr/>
      <dgm:t>
        <a:bodyPr/>
        <a:lstStyle/>
        <a:p>
          <a:endParaRPr lang="de-DE"/>
        </a:p>
      </dgm:t>
    </dgm:pt>
    <dgm:pt modelId="{C0C39BA3-DB84-054E-BBE7-CB947E930CC6}">
      <dgm:prSet/>
      <dgm:spPr/>
      <dgm:t>
        <a:bodyPr/>
        <a:lstStyle/>
        <a:p>
          <a:r>
            <a:rPr lang="de-DE" dirty="0"/>
            <a:t>Batch Job</a:t>
          </a:r>
        </a:p>
      </dgm:t>
    </dgm:pt>
    <dgm:pt modelId="{ABD0E689-C6B5-5244-9807-3E234C9E1696}" type="parTrans" cxnId="{E622361F-6F44-8148-AE31-D5CBB96E9A96}">
      <dgm:prSet/>
      <dgm:spPr/>
      <dgm:t>
        <a:bodyPr/>
        <a:lstStyle/>
        <a:p>
          <a:endParaRPr lang="de-DE"/>
        </a:p>
      </dgm:t>
    </dgm:pt>
    <dgm:pt modelId="{FC8FC586-50EB-1F45-A62B-4DECBD3F63A5}" type="sibTrans" cxnId="{E622361F-6F44-8148-AE31-D5CBB96E9A96}">
      <dgm:prSet/>
      <dgm:spPr/>
      <dgm:t>
        <a:bodyPr/>
        <a:lstStyle/>
        <a:p>
          <a:endParaRPr lang="de-DE"/>
        </a:p>
      </dgm:t>
    </dgm:pt>
    <dgm:pt modelId="{C8CC0DA2-FB1B-6443-8444-2A5C7F775B5D}" type="pres">
      <dgm:prSet presAssocID="{F71BF76D-9178-6745-927D-6B9C8DB23363}" presName="Name0" presStyleCnt="0">
        <dgm:presLayoutVars>
          <dgm:dir/>
          <dgm:resizeHandles val="exact"/>
        </dgm:presLayoutVars>
      </dgm:prSet>
      <dgm:spPr/>
    </dgm:pt>
    <dgm:pt modelId="{3A182555-009B-7144-B679-FFB0EB649E8A}" type="pres">
      <dgm:prSet presAssocID="{DC22FC0F-367D-FE49-AB50-F8300C76F67A}" presName="parTxOnly" presStyleLbl="node1" presStyleIdx="0" presStyleCnt="6" custLinFactNeighborY="1855">
        <dgm:presLayoutVars>
          <dgm:bulletEnabled val="1"/>
        </dgm:presLayoutVars>
      </dgm:prSet>
      <dgm:spPr/>
    </dgm:pt>
    <dgm:pt modelId="{02065CD7-D37C-9647-AD80-E0312B12A1BF}" type="pres">
      <dgm:prSet presAssocID="{2F3B8960-7415-C045-AE54-8E4C42CF909B}" presName="parSpace" presStyleCnt="0"/>
      <dgm:spPr/>
    </dgm:pt>
    <dgm:pt modelId="{1C100EA5-F48F-E945-8565-C92859A3DF3A}" type="pres">
      <dgm:prSet presAssocID="{7C72E93D-2E08-D242-938D-7EED94B07CF4}" presName="parTxOnly" presStyleLbl="node1" presStyleIdx="1" presStyleCnt="6" custLinFactNeighborY="1855">
        <dgm:presLayoutVars>
          <dgm:bulletEnabled val="1"/>
        </dgm:presLayoutVars>
      </dgm:prSet>
      <dgm:spPr/>
    </dgm:pt>
    <dgm:pt modelId="{F26189BE-55E1-AA44-9F9F-30C4330BDB50}" type="pres">
      <dgm:prSet presAssocID="{A53A776B-B399-2B40-80C8-B5D3BC73C087}" presName="parSpace" presStyleCnt="0"/>
      <dgm:spPr/>
    </dgm:pt>
    <dgm:pt modelId="{D814E02E-4C5E-0342-BA71-C4BE669A7B65}" type="pres">
      <dgm:prSet presAssocID="{182EFA78-006A-7C4E-AB53-7B0CE08A9FDC}" presName="parTxOnly" presStyleLbl="node1" presStyleIdx="2" presStyleCnt="6" custLinFactNeighborY="1855">
        <dgm:presLayoutVars>
          <dgm:bulletEnabled val="1"/>
        </dgm:presLayoutVars>
      </dgm:prSet>
      <dgm:spPr/>
    </dgm:pt>
    <dgm:pt modelId="{A6AF26CF-D895-6147-8692-B1FB242735C1}" type="pres">
      <dgm:prSet presAssocID="{EFD26812-EB99-AD47-A465-56E7FE767263}" presName="parSpace" presStyleCnt="0"/>
      <dgm:spPr/>
    </dgm:pt>
    <dgm:pt modelId="{2076C066-D95A-1B41-9994-0956052F32B9}" type="pres">
      <dgm:prSet presAssocID="{91C840CC-8015-F047-912B-FF8E7307E56C}" presName="parTxOnly" presStyleLbl="node1" presStyleIdx="3" presStyleCnt="6" custLinFactNeighborY="1855">
        <dgm:presLayoutVars>
          <dgm:bulletEnabled val="1"/>
        </dgm:presLayoutVars>
      </dgm:prSet>
      <dgm:spPr/>
    </dgm:pt>
    <dgm:pt modelId="{CBE103B5-BD50-C841-AC3B-96C8E6F1B1BE}" type="pres">
      <dgm:prSet presAssocID="{9CF9AB6E-88CC-1F4E-896C-A7225654DD5F}" presName="parSpace" presStyleCnt="0"/>
      <dgm:spPr/>
    </dgm:pt>
    <dgm:pt modelId="{B3321D2C-6800-6847-98EC-4CB1E6BC9E37}" type="pres">
      <dgm:prSet presAssocID="{2E019A1F-9A9E-E146-9F51-267D24AEFAE4}" presName="parTxOnly" presStyleLbl="node1" presStyleIdx="4" presStyleCnt="6" custLinFactNeighborY="1855">
        <dgm:presLayoutVars>
          <dgm:bulletEnabled val="1"/>
        </dgm:presLayoutVars>
      </dgm:prSet>
      <dgm:spPr/>
    </dgm:pt>
    <dgm:pt modelId="{685F25D7-AC2B-2B42-A6B6-9C3E466573D2}" type="pres">
      <dgm:prSet presAssocID="{FAE8032E-B573-FD4C-B4BA-E07A52400004}" presName="parSpace" presStyleCnt="0"/>
      <dgm:spPr/>
    </dgm:pt>
    <dgm:pt modelId="{98179A75-2150-4247-BEDB-5BC1D943E805}" type="pres">
      <dgm:prSet presAssocID="{C0C39BA3-DB84-054E-BBE7-CB947E930CC6}" presName="parTxOnly" presStyleLbl="node1" presStyleIdx="5" presStyleCnt="6" custLinFactNeighborY="1855">
        <dgm:presLayoutVars>
          <dgm:bulletEnabled val="1"/>
        </dgm:presLayoutVars>
      </dgm:prSet>
      <dgm:spPr/>
    </dgm:pt>
  </dgm:ptLst>
  <dgm:cxnLst>
    <dgm:cxn modelId="{64446F15-7420-EF48-90EE-301FD870B6F6}" srcId="{F71BF76D-9178-6745-927D-6B9C8DB23363}" destId="{DC22FC0F-367D-FE49-AB50-F8300C76F67A}" srcOrd="0" destOrd="0" parTransId="{3DAA34E8-C361-CC48-BDFB-AE1DA108A3FA}" sibTransId="{2F3B8960-7415-C045-AE54-8E4C42CF909B}"/>
    <dgm:cxn modelId="{E622361F-6F44-8148-AE31-D5CBB96E9A96}" srcId="{F71BF76D-9178-6745-927D-6B9C8DB23363}" destId="{C0C39BA3-DB84-054E-BBE7-CB947E930CC6}" srcOrd="5" destOrd="0" parTransId="{ABD0E689-C6B5-5244-9807-3E234C9E1696}" sibTransId="{FC8FC586-50EB-1F45-A62B-4DECBD3F63A5}"/>
    <dgm:cxn modelId="{C0FF7B33-37DB-A14E-9382-0B4A7C887B00}" type="presOf" srcId="{F71BF76D-9178-6745-927D-6B9C8DB23363}" destId="{C8CC0DA2-FB1B-6443-8444-2A5C7F775B5D}" srcOrd="0" destOrd="0" presId="urn:microsoft.com/office/officeart/2005/8/layout/hChevron3"/>
    <dgm:cxn modelId="{34FA0434-FF0A-DA45-A121-8ECCC7BB5CCB}" type="presOf" srcId="{C0C39BA3-DB84-054E-BBE7-CB947E930CC6}" destId="{98179A75-2150-4247-BEDB-5BC1D943E805}" srcOrd="0" destOrd="0" presId="urn:microsoft.com/office/officeart/2005/8/layout/hChevron3"/>
    <dgm:cxn modelId="{900E1E42-4712-E144-995E-9568818F3DB9}" srcId="{F71BF76D-9178-6745-927D-6B9C8DB23363}" destId="{182EFA78-006A-7C4E-AB53-7B0CE08A9FDC}" srcOrd="2" destOrd="0" parTransId="{5E6A40BA-95C6-AD4B-9FCE-4E46E31B9C20}" sibTransId="{EFD26812-EB99-AD47-A465-56E7FE767263}"/>
    <dgm:cxn modelId="{B7365B47-A3BC-1B47-B1DD-5BA88D887F6F}" type="presOf" srcId="{2E019A1F-9A9E-E146-9F51-267D24AEFAE4}" destId="{B3321D2C-6800-6847-98EC-4CB1E6BC9E37}" srcOrd="0" destOrd="0" presId="urn:microsoft.com/office/officeart/2005/8/layout/hChevron3"/>
    <dgm:cxn modelId="{6FBC0364-39B4-1E46-8DB6-50FC6B2A2017}" type="presOf" srcId="{91C840CC-8015-F047-912B-FF8E7307E56C}" destId="{2076C066-D95A-1B41-9994-0956052F32B9}" srcOrd="0" destOrd="0" presId="urn:microsoft.com/office/officeart/2005/8/layout/hChevron3"/>
    <dgm:cxn modelId="{1A9F126E-A23D-7140-A2A1-68EB657CACE7}" srcId="{F71BF76D-9178-6745-927D-6B9C8DB23363}" destId="{7C72E93D-2E08-D242-938D-7EED94B07CF4}" srcOrd="1" destOrd="0" parTransId="{7C082418-FE2E-154D-8F2B-83DB9C78888C}" sibTransId="{A53A776B-B399-2B40-80C8-B5D3BC73C087}"/>
    <dgm:cxn modelId="{C1694D98-A5DB-AA45-A4A1-574EBC411A0A}" type="presOf" srcId="{DC22FC0F-367D-FE49-AB50-F8300C76F67A}" destId="{3A182555-009B-7144-B679-FFB0EB649E8A}" srcOrd="0" destOrd="0" presId="urn:microsoft.com/office/officeart/2005/8/layout/hChevron3"/>
    <dgm:cxn modelId="{0C669AA8-33B6-4448-B9B1-C9EB5469AD22}" type="presOf" srcId="{182EFA78-006A-7C4E-AB53-7B0CE08A9FDC}" destId="{D814E02E-4C5E-0342-BA71-C4BE669A7B65}" srcOrd="0" destOrd="0" presId="urn:microsoft.com/office/officeart/2005/8/layout/hChevron3"/>
    <dgm:cxn modelId="{9C457BAC-8B79-FA48-BAED-D46CB8E21F13}" srcId="{F71BF76D-9178-6745-927D-6B9C8DB23363}" destId="{2E019A1F-9A9E-E146-9F51-267D24AEFAE4}" srcOrd="4" destOrd="0" parTransId="{07A2A3F7-A824-014D-AEF4-CD89BBEBA46B}" sibTransId="{FAE8032E-B573-FD4C-B4BA-E07A52400004}"/>
    <dgm:cxn modelId="{F22DD4DC-70B3-C14D-B3BA-0680C11F205B}" type="presOf" srcId="{7C72E93D-2E08-D242-938D-7EED94B07CF4}" destId="{1C100EA5-F48F-E945-8565-C92859A3DF3A}" srcOrd="0" destOrd="0" presId="urn:microsoft.com/office/officeart/2005/8/layout/hChevron3"/>
    <dgm:cxn modelId="{98F598F9-E183-0546-87F7-22C1070D3A42}" srcId="{F71BF76D-9178-6745-927D-6B9C8DB23363}" destId="{91C840CC-8015-F047-912B-FF8E7307E56C}" srcOrd="3" destOrd="0" parTransId="{E1B1DE99-7D5D-4147-920E-6584992D82AD}" sibTransId="{9CF9AB6E-88CC-1F4E-896C-A7225654DD5F}"/>
    <dgm:cxn modelId="{7B0959AB-ECCD-394C-8A9F-98139C3775F4}" type="presParOf" srcId="{C8CC0DA2-FB1B-6443-8444-2A5C7F775B5D}" destId="{3A182555-009B-7144-B679-FFB0EB649E8A}" srcOrd="0" destOrd="0" presId="urn:microsoft.com/office/officeart/2005/8/layout/hChevron3"/>
    <dgm:cxn modelId="{2164BAFC-16A7-1049-94ED-D840FF804019}" type="presParOf" srcId="{C8CC0DA2-FB1B-6443-8444-2A5C7F775B5D}" destId="{02065CD7-D37C-9647-AD80-E0312B12A1BF}" srcOrd="1" destOrd="0" presId="urn:microsoft.com/office/officeart/2005/8/layout/hChevron3"/>
    <dgm:cxn modelId="{76644176-3571-8E46-99BF-FAEE798F3774}" type="presParOf" srcId="{C8CC0DA2-FB1B-6443-8444-2A5C7F775B5D}" destId="{1C100EA5-F48F-E945-8565-C92859A3DF3A}" srcOrd="2" destOrd="0" presId="urn:microsoft.com/office/officeart/2005/8/layout/hChevron3"/>
    <dgm:cxn modelId="{33C7D404-9D3F-9E40-A303-47402055031F}" type="presParOf" srcId="{C8CC0DA2-FB1B-6443-8444-2A5C7F775B5D}" destId="{F26189BE-55E1-AA44-9F9F-30C4330BDB50}" srcOrd="3" destOrd="0" presId="urn:microsoft.com/office/officeart/2005/8/layout/hChevron3"/>
    <dgm:cxn modelId="{9F026F5E-951F-9942-BE66-7CC50A5C62B2}" type="presParOf" srcId="{C8CC0DA2-FB1B-6443-8444-2A5C7F775B5D}" destId="{D814E02E-4C5E-0342-BA71-C4BE669A7B65}" srcOrd="4" destOrd="0" presId="urn:microsoft.com/office/officeart/2005/8/layout/hChevron3"/>
    <dgm:cxn modelId="{C3D97451-F53E-484D-AE7C-1F0FEE053A16}" type="presParOf" srcId="{C8CC0DA2-FB1B-6443-8444-2A5C7F775B5D}" destId="{A6AF26CF-D895-6147-8692-B1FB242735C1}" srcOrd="5" destOrd="0" presId="urn:microsoft.com/office/officeart/2005/8/layout/hChevron3"/>
    <dgm:cxn modelId="{7684EF7E-8E3A-EB41-89E2-BF8B3956F75F}" type="presParOf" srcId="{C8CC0DA2-FB1B-6443-8444-2A5C7F775B5D}" destId="{2076C066-D95A-1B41-9994-0956052F32B9}" srcOrd="6" destOrd="0" presId="urn:microsoft.com/office/officeart/2005/8/layout/hChevron3"/>
    <dgm:cxn modelId="{52EEFAE7-5EEB-574C-90EF-B61919CF713C}" type="presParOf" srcId="{C8CC0DA2-FB1B-6443-8444-2A5C7F775B5D}" destId="{CBE103B5-BD50-C841-AC3B-96C8E6F1B1BE}" srcOrd="7" destOrd="0" presId="urn:microsoft.com/office/officeart/2005/8/layout/hChevron3"/>
    <dgm:cxn modelId="{24E1D34B-8891-4F43-89D4-41E332CBC479}" type="presParOf" srcId="{C8CC0DA2-FB1B-6443-8444-2A5C7F775B5D}" destId="{B3321D2C-6800-6847-98EC-4CB1E6BC9E37}" srcOrd="8" destOrd="0" presId="urn:microsoft.com/office/officeart/2005/8/layout/hChevron3"/>
    <dgm:cxn modelId="{0CE80AC8-8033-5745-A086-3F58671D95DC}" type="presParOf" srcId="{C8CC0DA2-FB1B-6443-8444-2A5C7F775B5D}" destId="{685F25D7-AC2B-2B42-A6B6-9C3E466573D2}" srcOrd="9" destOrd="0" presId="urn:microsoft.com/office/officeart/2005/8/layout/hChevron3"/>
    <dgm:cxn modelId="{0FEA649E-B0E7-CA4A-9C01-56E2CC273424}" type="presParOf" srcId="{C8CC0DA2-FB1B-6443-8444-2A5C7F775B5D}" destId="{98179A75-2150-4247-BEDB-5BC1D943E805}" srcOrd="1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182555-009B-7144-B679-FFB0EB649E8A}">
      <dsp:nvSpPr>
        <dsp:cNvPr id="0" name=""/>
        <dsp:cNvSpPr/>
      </dsp:nvSpPr>
      <dsp:spPr>
        <a:xfrm>
          <a:off x="1343" y="429730"/>
          <a:ext cx="2201193" cy="880477"/>
        </a:xfrm>
        <a:prstGeom prst="homePlate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26670" bIns="533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Antragsteller </a:t>
          </a:r>
        </a:p>
      </dsp:txBody>
      <dsp:txXfrm>
        <a:off x="1343" y="429730"/>
        <a:ext cx="1981074" cy="880477"/>
      </dsp:txXfrm>
    </dsp:sp>
    <dsp:sp modelId="{1C100EA5-F48F-E945-8565-C92859A3DF3A}">
      <dsp:nvSpPr>
        <dsp:cNvPr id="0" name=""/>
        <dsp:cNvSpPr/>
      </dsp:nvSpPr>
      <dsp:spPr>
        <a:xfrm>
          <a:off x="1762298" y="429730"/>
          <a:ext cx="2201193" cy="880477"/>
        </a:xfrm>
        <a:prstGeom prst="chevron">
          <a:avLst/>
        </a:prstGeom>
        <a:solidFill>
          <a:schemeClr val="accent1">
            <a:shade val="80000"/>
            <a:hueOff val="34225"/>
            <a:satOff val="-5211"/>
            <a:lumOff val="684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Change Manager</a:t>
          </a:r>
        </a:p>
      </dsp:txBody>
      <dsp:txXfrm>
        <a:off x="2202537" y="429730"/>
        <a:ext cx="1320716" cy="880477"/>
      </dsp:txXfrm>
    </dsp:sp>
    <dsp:sp modelId="{D814E02E-4C5E-0342-BA71-C4BE669A7B65}">
      <dsp:nvSpPr>
        <dsp:cNvPr id="0" name=""/>
        <dsp:cNvSpPr/>
      </dsp:nvSpPr>
      <dsp:spPr>
        <a:xfrm>
          <a:off x="3523253" y="429730"/>
          <a:ext cx="2201193" cy="880477"/>
        </a:xfrm>
        <a:prstGeom prst="chevron">
          <a:avLst/>
        </a:prstGeom>
        <a:solidFill>
          <a:schemeClr val="accent1">
            <a:shade val="80000"/>
            <a:hueOff val="68449"/>
            <a:satOff val="-10421"/>
            <a:lumOff val="1369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Entwickler</a:t>
          </a:r>
        </a:p>
      </dsp:txBody>
      <dsp:txXfrm>
        <a:off x="3963492" y="429730"/>
        <a:ext cx="1320716" cy="880477"/>
      </dsp:txXfrm>
    </dsp:sp>
    <dsp:sp modelId="{2076C066-D95A-1B41-9994-0956052F32B9}">
      <dsp:nvSpPr>
        <dsp:cNvPr id="0" name=""/>
        <dsp:cNvSpPr/>
      </dsp:nvSpPr>
      <dsp:spPr>
        <a:xfrm>
          <a:off x="5284207" y="429730"/>
          <a:ext cx="2201193" cy="880477"/>
        </a:xfrm>
        <a:prstGeom prst="chevron">
          <a:avLst/>
        </a:prstGeom>
        <a:solidFill>
          <a:schemeClr val="accent1">
            <a:shade val="80000"/>
            <a:hueOff val="102674"/>
            <a:satOff val="-15632"/>
            <a:lumOff val="2054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Tester</a:t>
          </a:r>
        </a:p>
      </dsp:txBody>
      <dsp:txXfrm>
        <a:off x="5724446" y="429730"/>
        <a:ext cx="1320716" cy="880477"/>
      </dsp:txXfrm>
    </dsp:sp>
    <dsp:sp modelId="{B3321D2C-6800-6847-98EC-4CB1E6BC9E37}">
      <dsp:nvSpPr>
        <dsp:cNvPr id="0" name=""/>
        <dsp:cNvSpPr/>
      </dsp:nvSpPr>
      <dsp:spPr>
        <a:xfrm>
          <a:off x="7045162" y="429730"/>
          <a:ext cx="2201193" cy="880477"/>
        </a:xfrm>
        <a:prstGeom prst="chevron">
          <a:avLst/>
        </a:prstGeom>
        <a:solidFill>
          <a:schemeClr val="accent1">
            <a:shade val="80000"/>
            <a:hueOff val="136898"/>
            <a:satOff val="-20842"/>
            <a:lumOff val="2739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IT Operator</a:t>
          </a:r>
        </a:p>
      </dsp:txBody>
      <dsp:txXfrm>
        <a:off x="7485401" y="429730"/>
        <a:ext cx="1320716" cy="880477"/>
      </dsp:txXfrm>
    </dsp:sp>
    <dsp:sp modelId="{98179A75-2150-4247-BEDB-5BC1D943E805}">
      <dsp:nvSpPr>
        <dsp:cNvPr id="0" name=""/>
        <dsp:cNvSpPr/>
      </dsp:nvSpPr>
      <dsp:spPr>
        <a:xfrm>
          <a:off x="8806116" y="429730"/>
          <a:ext cx="2201193" cy="880477"/>
        </a:xfrm>
        <a:prstGeom prst="chevron">
          <a:avLst/>
        </a:prstGeom>
        <a:solidFill>
          <a:schemeClr val="accent1">
            <a:shade val="80000"/>
            <a:hueOff val="171123"/>
            <a:satOff val="-26053"/>
            <a:lumOff val="3423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/>
            <a:t>Batch Job</a:t>
          </a:r>
        </a:p>
      </dsp:txBody>
      <dsp:txXfrm>
        <a:off x="9246355" y="429730"/>
        <a:ext cx="1320716" cy="88047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90838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829" tIns="45914" rIns="91829" bIns="45914" numCol="1" anchor="t" anchorCtr="0" compatLnSpc="1">
            <a:prstTxWarp prst="textNoShape">
              <a:avLst/>
            </a:prstTxWarp>
          </a:bodyPr>
          <a:lstStyle>
            <a:lvl1pPr defTabSz="918949" eaLnBrk="1" hangingPunct="1">
              <a:spcBef>
                <a:spcPct val="0"/>
              </a:spcBef>
              <a:defRPr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8250" y="0"/>
            <a:ext cx="2890838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829" tIns="45914" rIns="91829" bIns="45914" numCol="1" anchor="t" anchorCtr="0" compatLnSpc="1">
            <a:prstTxWarp prst="textNoShape">
              <a:avLst/>
            </a:prstTxWarp>
          </a:bodyPr>
          <a:lstStyle>
            <a:lvl1pPr algn="r" defTabSz="918949" eaLnBrk="1" hangingPunct="1">
              <a:spcBef>
                <a:spcPct val="0"/>
              </a:spcBef>
              <a:defRPr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750"/>
            <a:ext cx="2890838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829" tIns="45914" rIns="91829" bIns="45914" numCol="1" anchor="b" anchorCtr="0" compatLnSpc="1">
            <a:prstTxWarp prst="textNoShape">
              <a:avLst/>
            </a:prstTxWarp>
          </a:bodyPr>
          <a:lstStyle>
            <a:lvl1pPr defTabSz="918949" eaLnBrk="1" hangingPunct="1">
              <a:spcBef>
                <a:spcPct val="0"/>
              </a:spcBef>
              <a:defRPr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8250" y="9429750"/>
            <a:ext cx="2890838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829" tIns="45914" rIns="91829" bIns="45914" numCol="1" anchor="b" anchorCtr="0" compatLnSpc="1">
            <a:prstTxWarp prst="textNoShape">
              <a:avLst/>
            </a:prstTxWarp>
          </a:bodyPr>
          <a:lstStyle>
            <a:lvl1pPr algn="r" defTabSz="918949" eaLnBrk="1" hangingPunct="1">
              <a:spcBef>
                <a:spcPct val="0"/>
              </a:spcBef>
              <a:defRPr/>
            </a:lvl1pPr>
          </a:lstStyle>
          <a:p>
            <a:pPr>
              <a:defRPr/>
            </a:pPr>
            <a:fld id="{ADFF3A69-C35A-408A-BDFC-5D3C1A62501C}" type="slidenum">
              <a:rPr lang="de-CH" altLang="de-DE"/>
              <a:pPr>
                <a:defRPr/>
              </a:pPr>
              <a:t>‹Nr.›</a:t>
            </a:fld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13991599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1" name="Rectangle 5"/>
          <p:cNvSpPr>
            <a:spLocks noGrp="1" noChangeAspect="1" noChangeArrowheads="1"/>
          </p:cNvSpPr>
          <p:nvPr>
            <p:ph type="body" sz="quarter" idx="3"/>
          </p:nvPr>
        </p:nvSpPr>
        <p:spPr bwMode="auto">
          <a:xfrm>
            <a:off x="704850" y="106363"/>
            <a:ext cx="5738813" cy="968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/>
              <a:t>Klicken Sie, um die Formate des Vorlagentextes zu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49155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63538" y="7912100"/>
            <a:ext cx="3338512" cy="18780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</p:spTree>
    <p:extLst>
      <p:ext uri="{BB962C8B-B14F-4D97-AF65-F5344CB8AC3E}">
        <p14:creationId xmlns:p14="http://schemas.microsoft.com/office/powerpoint/2010/main" val="340612154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ts val="1400"/>
      </a:lnSpc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lnSpc>
        <a:spcPts val="1400"/>
      </a:lnSpc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lnSpc>
        <a:spcPts val="1400"/>
      </a:lnSpc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lnSpc>
        <a:spcPts val="1400"/>
      </a:lnSpc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lnSpc>
        <a:spcPts val="1400"/>
      </a:lnSpc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ubheading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1771"/>
            <a:ext cx="12192000" cy="596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shpGrid" hidden="1"/>
          <p:cNvGrpSpPr>
            <a:grpSpLocks/>
          </p:cNvGrpSpPr>
          <p:nvPr/>
        </p:nvGrpSpPr>
        <p:grpSpPr bwMode="auto">
          <a:xfrm>
            <a:off x="-23813" y="0"/>
            <a:ext cx="12215813" cy="6858000"/>
            <a:chOff x="-12" y="0"/>
            <a:chExt cx="6252" cy="4320"/>
          </a:xfrm>
        </p:grpSpPr>
        <p:sp>
          <p:nvSpPr>
            <p:cNvPr id="6" name="Line 39" hidden="1"/>
            <p:cNvSpPr>
              <a:spLocks noChangeShapeType="1"/>
            </p:cNvSpPr>
            <p:nvPr/>
          </p:nvSpPr>
          <p:spPr bwMode="auto">
            <a:xfrm>
              <a:off x="273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7" name="Line 40" hidden="1"/>
            <p:cNvSpPr>
              <a:spLocks noChangeShapeType="1"/>
            </p:cNvSpPr>
            <p:nvPr/>
          </p:nvSpPr>
          <p:spPr bwMode="auto">
            <a:xfrm>
              <a:off x="5966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8" name="Line 41" hidden="1"/>
            <p:cNvSpPr>
              <a:spLocks noChangeShapeType="1"/>
            </p:cNvSpPr>
            <p:nvPr/>
          </p:nvSpPr>
          <p:spPr bwMode="auto">
            <a:xfrm>
              <a:off x="0" y="215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9" name="Line 42" hidden="1"/>
            <p:cNvSpPr>
              <a:spLocks noChangeShapeType="1"/>
            </p:cNvSpPr>
            <p:nvPr/>
          </p:nvSpPr>
          <p:spPr bwMode="auto">
            <a:xfrm>
              <a:off x="-12" y="1132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" name="Line 43" hidden="1"/>
            <p:cNvSpPr>
              <a:spLocks noChangeShapeType="1"/>
            </p:cNvSpPr>
            <p:nvPr/>
          </p:nvSpPr>
          <p:spPr bwMode="auto">
            <a:xfrm>
              <a:off x="3119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1" name="Line 44" hidden="1"/>
            <p:cNvSpPr>
              <a:spLocks noChangeShapeType="1"/>
            </p:cNvSpPr>
            <p:nvPr/>
          </p:nvSpPr>
          <p:spPr bwMode="auto">
            <a:xfrm>
              <a:off x="0" y="28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2" name="Line 45" hidden="1"/>
            <p:cNvSpPr>
              <a:spLocks noChangeShapeType="1"/>
            </p:cNvSpPr>
            <p:nvPr/>
          </p:nvSpPr>
          <p:spPr bwMode="auto">
            <a:xfrm>
              <a:off x="0" y="3854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</p:grpSp>
      <p:sp>
        <p:nvSpPr>
          <p:cNvPr id="13" name="Rechteck 12"/>
          <p:cNvSpPr>
            <a:spLocks noChangeArrowheads="1"/>
          </p:cNvSpPr>
          <p:nvPr userDrawn="1"/>
        </p:nvSpPr>
        <p:spPr bwMode="auto">
          <a:xfrm>
            <a:off x="0" y="5315416"/>
            <a:ext cx="12191999" cy="13490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defRPr/>
            </a:pPr>
            <a:endParaRPr lang="de-DE" altLang="de-DE" dirty="0"/>
          </a:p>
        </p:txBody>
      </p:sp>
      <p:sp>
        <p:nvSpPr>
          <p:cNvPr id="24" name="Rectangle"/>
          <p:cNvSpPr>
            <a:spLocks noGrp="1" noChangeArrowheads="1"/>
          </p:cNvSpPr>
          <p:nvPr>
            <p:ph type="ctrTitle"/>
          </p:nvPr>
        </p:nvSpPr>
        <p:spPr>
          <a:xfrm>
            <a:off x="584632" y="5675885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2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05303" y="6163451"/>
            <a:ext cx="10312339" cy="219995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  <p:cxnSp>
        <p:nvCxnSpPr>
          <p:cNvPr id="30" name="Gerade Verbindung 25">
            <a:extLst>
              <a:ext uri="{FF2B5EF4-FFF2-40B4-BE49-F238E27FC236}">
                <a16:creationId xmlns:a16="http://schemas.microsoft.com/office/drawing/2014/main" id="{97EDF13B-217F-2D4E-8474-D58420E9416D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-6740" y="5315416"/>
            <a:ext cx="12198740" cy="0"/>
          </a:xfrm>
          <a:prstGeom prst="line">
            <a:avLst/>
          </a:prstGeom>
          <a:ln w="57150">
            <a:solidFill>
              <a:srgbClr val="E4061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hteck 30">
            <a:extLst>
              <a:ext uri="{FF2B5EF4-FFF2-40B4-BE49-F238E27FC236}">
                <a16:creationId xmlns:a16="http://schemas.microsoft.com/office/drawing/2014/main" id="{A86729A2-6DA9-B441-AF88-CB5B4C8FDAEF}"/>
              </a:ext>
            </a:extLst>
          </p:cNvPr>
          <p:cNvSpPr/>
          <p:nvPr userDrawn="1"/>
        </p:nvSpPr>
        <p:spPr bwMode="auto">
          <a:xfrm>
            <a:off x="10058401" y="551517"/>
            <a:ext cx="2140340" cy="910749"/>
          </a:xfrm>
          <a:prstGeom prst="rect">
            <a:avLst/>
          </a:prstGeom>
          <a:solidFill>
            <a:schemeClr val="bg1">
              <a:alpha val="88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2" name="Grafik 31" descr="Ein Bild, das Uhr, Zeichnung enthält.&#10;&#10;Automatisch generierte Beschreibung">
            <a:extLst>
              <a:ext uri="{FF2B5EF4-FFF2-40B4-BE49-F238E27FC236}">
                <a16:creationId xmlns:a16="http://schemas.microsoft.com/office/drawing/2014/main" id="{0B81D3FA-0F3F-B846-BD3D-9FF1BF7F7C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2344" b="-2058"/>
          <a:stretch/>
        </p:blipFill>
        <p:spPr>
          <a:xfrm>
            <a:off x="10292603" y="700600"/>
            <a:ext cx="1511466" cy="627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8414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lis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18FD0B8-B0DA-E344-970A-1B048881B02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0" y="1663047"/>
            <a:ext cx="11049284" cy="4364038"/>
          </a:xfrm>
        </p:spPr>
        <p:txBody>
          <a:bodyPr/>
          <a:lstStyle>
            <a:lvl1pPr marL="7938" marR="0" indent="0" algn="l" defTabSz="914423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lang="de-DE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30245" indent="-285750" algn="l" defTabSz="873147" rtl="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de-DE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12838" indent="-396875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lang="de-DE" sz="18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471613" indent="-396875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lang="de-DE" sz="18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900285" indent="-457212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CH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de-CH" altLang="de-DE" dirty="0"/>
              <a:t>Fliesstext Fliesstext Fliesstext</a:t>
            </a:r>
          </a:p>
          <a:p>
            <a:pPr lvl="0"/>
            <a:endParaRPr lang="de-CH" altLang="de-DE" dirty="0"/>
          </a:p>
        </p:txBody>
      </p:sp>
      <p:sp>
        <p:nvSpPr>
          <p:cNvPr id="12" name="Rectangle">
            <a:extLst>
              <a:ext uri="{FF2B5EF4-FFF2-40B4-BE49-F238E27FC236}">
                <a16:creationId xmlns:a16="http://schemas.microsoft.com/office/drawing/2014/main" id="{3AFC9668-1FA3-544C-B369-D1703DEBF567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84632" y="459643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99A16CCB-F72E-F24D-BD15-C1001C77CB20}"/>
              </a:ext>
            </a:extLst>
          </p:cNvPr>
          <p:cNvSpPr>
            <a:spLocks noGrp="1" noChangeArrowheads="1"/>
          </p:cNvSpPr>
          <p:nvPr>
            <p:ph type="subTitle" idx="10"/>
          </p:nvPr>
        </p:nvSpPr>
        <p:spPr>
          <a:xfrm>
            <a:off x="604027" y="951848"/>
            <a:ext cx="10322852" cy="230407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27252815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lletlis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18FD0B8-B0DA-E344-970A-1B048881B02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0" y="1663047"/>
            <a:ext cx="11049284" cy="4364038"/>
          </a:xfrm>
        </p:spPr>
        <p:txBody>
          <a:bodyPr/>
          <a:lstStyle>
            <a:lvl1pPr marL="293688" marR="0" indent="-285750" algn="l" defTabSz="914423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lang="de-DE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30245" indent="-285750" algn="l" defTabSz="873147" rtl="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de-DE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12838" indent="-396875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lang="de-DE" sz="18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471613" indent="-396875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lang="de-DE" sz="18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900285" indent="-457212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CH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de-CH" altLang="de-DE" dirty="0" err="1"/>
              <a:t>Bulletpoints</a:t>
            </a:r>
            <a:endParaRPr lang="de-CH" altLang="de-DE" dirty="0"/>
          </a:p>
          <a:p>
            <a:pPr lvl="0"/>
            <a:r>
              <a:rPr lang="de-CH" altLang="de-DE" dirty="0" err="1"/>
              <a:t>Bulletpoints</a:t>
            </a:r>
            <a:endParaRPr lang="de-CH" altLang="de-DE" dirty="0"/>
          </a:p>
          <a:p>
            <a:pPr lvl="0"/>
            <a:r>
              <a:rPr lang="de-CH" altLang="de-DE" dirty="0" err="1"/>
              <a:t>Bulletpoints</a:t>
            </a:r>
            <a:endParaRPr lang="de-CH" altLang="de-DE" dirty="0"/>
          </a:p>
          <a:p>
            <a:pPr lvl="0"/>
            <a:r>
              <a:rPr lang="de-CH" altLang="de-DE" dirty="0" err="1"/>
              <a:t>Bulletpoints</a:t>
            </a:r>
            <a:endParaRPr lang="de-CH" altLang="de-DE" dirty="0"/>
          </a:p>
          <a:p>
            <a:pPr lvl="0"/>
            <a:endParaRPr lang="de-CH" altLang="de-DE" dirty="0"/>
          </a:p>
        </p:txBody>
      </p:sp>
      <p:sp>
        <p:nvSpPr>
          <p:cNvPr id="12" name="Rectangle">
            <a:extLst>
              <a:ext uri="{FF2B5EF4-FFF2-40B4-BE49-F238E27FC236}">
                <a16:creationId xmlns:a16="http://schemas.microsoft.com/office/drawing/2014/main" id="{3AFC9668-1FA3-544C-B369-D1703DEBF567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84632" y="459643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99A16CCB-F72E-F24D-BD15-C1001C77CB20}"/>
              </a:ext>
            </a:extLst>
          </p:cNvPr>
          <p:cNvSpPr>
            <a:spLocks noGrp="1" noChangeArrowheads="1"/>
          </p:cNvSpPr>
          <p:nvPr>
            <p:ph type="subTitle" idx="10"/>
          </p:nvPr>
        </p:nvSpPr>
        <p:spPr>
          <a:xfrm>
            <a:off x="604027" y="951848"/>
            <a:ext cx="10322852" cy="230407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36995979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lis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D2988F1-BAC8-AF4C-B976-B945D80BA13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320589" y="1663549"/>
            <a:ext cx="5286927" cy="4364038"/>
          </a:xfrm>
        </p:spPr>
        <p:txBody>
          <a:bodyPr/>
          <a:lstStyle>
            <a:lvl1pPr marL="293688" marR="0" indent="-285750" algn="l" defTabSz="914423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lang="de-DE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30245" indent="-285750" algn="l" defTabSz="873147" rtl="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de-DE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12838" indent="-396875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lang="de-DE" sz="18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471613" indent="-396875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lang="de-DE" sz="18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900285" indent="-457212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CH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de-CH" altLang="de-DE" dirty="0" err="1"/>
              <a:t>Bulletpoints</a:t>
            </a:r>
            <a:endParaRPr lang="de-CH" altLang="de-DE" dirty="0"/>
          </a:p>
          <a:p>
            <a:pPr lvl="0"/>
            <a:r>
              <a:rPr lang="de-CH" altLang="de-DE" dirty="0" err="1"/>
              <a:t>Bulletpoints</a:t>
            </a:r>
            <a:endParaRPr lang="de-CH" altLang="de-DE" dirty="0"/>
          </a:p>
          <a:p>
            <a:pPr lvl="0"/>
            <a:r>
              <a:rPr lang="de-CH" altLang="de-DE" dirty="0" err="1"/>
              <a:t>Bulletpoints</a:t>
            </a:r>
            <a:endParaRPr lang="de-CH" altLang="de-DE" dirty="0"/>
          </a:p>
          <a:p>
            <a:pPr lvl="0"/>
            <a:endParaRPr lang="de-CH" altLang="de-DE" dirty="0"/>
          </a:p>
          <a:p>
            <a:pPr lvl="0"/>
            <a:endParaRPr lang="de-CH" altLang="de-DE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C5EB5DC-1DA6-164B-96EF-5DB57E7C081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0" y="1663047"/>
            <a:ext cx="5286927" cy="4364038"/>
          </a:xfrm>
        </p:spPr>
        <p:txBody>
          <a:bodyPr/>
          <a:lstStyle>
            <a:lvl1pPr marL="7938" marR="0" indent="0" algn="l" defTabSz="914423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lang="de-DE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30245" indent="-285750" algn="l" defTabSz="873147" rtl="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de-DE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12838" indent="-396875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lang="de-DE" sz="18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471613" indent="-396875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lang="de-DE" sz="18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900285" indent="-457212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CH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de-CH" altLang="de-DE" dirty="0"/>
              <a:t>Fliesstext</a:t>
            </a:r>
          </a:p>
          <a:p>
            <a:pPr lvl="0"/>
            <a:endParaRPr lang="de-CH" altLang="de-DE" dirty="0"/>
          </a:p>
          <a:p>
            <a:pPr lvl="0"/>
            <a:endParaRPr lang="de-CH" altLang="de-DE" dirty="0"/>
          </a:p>
        </p:txBody>
      </p:sp>
      <p:sp>
        <p:nvSpPr>
          <p:cNvPr id="12" name="Rectangle">
            <a:extLst>
              <a:ext uri="{FF2B5EF4-FFF2-40B4-BE49-F238E27FC236}">
                <a16:creationId xmlns:a16="http://schemas.microsoft.com/office/drawing/2014/main" id="{3AFC9668-1FA3-544C-B369-D1703DEBF567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84632" y="459643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99A16CCB-F72E-F24D-BD15-C1001C77CB20}"/>
              </a:ext>
            </a:extLst>
          </p:cNvPr>
          <p:cNvSpPr>
            <a:spLocks noGrp="1" noChangeArrowheads="1"/>
          </p:cNvSpPr>
          <p:nvPr>
            <p:ph type="subTitle" idx="10"/>
          </p:nvPr>
        </p:nvSpPr>
        <p:spPr>
          <a:xfrm>
            <a:off x="605303" y="951848"/>
            <a:ext cx="10312339" cy="219995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1828735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">
            <a:extLst>
              <a:ext uri="{FF2B5EF4-FFF2-40B4-BE49-F238E27FC236}">
                <a16:creationId xmlns:a16="http://schemas.microsoft.com/office/drawing/2014/main" id="{4D72DF9D-34A3-3248-B6BE-A83BAF726E92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84632" y="459643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B33AEFA1-503F-0A47-9942-5624ED859FC5}"/>
              </a:ext>
            </a:extLst>
          </p:cNvPr>
          <p:cNvSpPr>
            <a:spLocks noGrp="1" noChangeArrowheads="1"/>
          </p:cNvSpPr>
          <p:nvPr>
            <p:ph type="subTitle" idx="12"/>
          </p:nvPr>
        </p:nvSpPr>
        <p:spPr>
          <a:xfrm>
            <a:off x="605303" y="951848"/>
            <a:ext cx="10312339" cy="219995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40597413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16">
            <a:extLst>
              <a:ext uri="{FF2B5EF4-FFF2-40B4-BE49-F238E27FC236}">
                <a16:creationId xmlns:a16="http://schemas.microsoft.com/office/drawing/2014/main" id="{CB1CE1F6-7D85-704A-BC02-5DD7CF2643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6740" y="1473151"/>
            <a:ext cx="12192000" cy="538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shpGrid" hidden="1"/>
          <p:cNvGrpSpPr>
            <a:grpSpLocks/>
          </p:cNvGrpSpPr>
          <p:nvPr/>
        </p:nvGrpSpPr>
        <p:grpSpPr bwMode="auto">
          <a:xfrm>
            <a:off x="-23813" y="0"/>
            <a:ext cx="12215813" cy="6858000"/>
            <a:chOff x="-12" y="0"/>
            <a:chExt cx="6252" cy="4320"/>
          </a:xfrm>
        </p:grpSpPr>
        <p:sp>
          <p:nvSpPr>
            <p:cNvPr id="6" name="Line 39" hidden="1"/>
            <p:cNvSpPr>
              <a:spLocks noChangeShapeType="1"/>
            </p:cNvSpPr>
            <p:nvPr/>
          </p:nvSpPr>
          <p:spPr bwMode="auto">
            <a:xfrm>
              <a:off x="273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7" name="Line 40" hidden="1"/>
            <p:cNvSpPr>
              <a:spLocks noChangeShapeType="1"/>
            </p:cNvSpPr>
            <p:nvPr/>
          </p:nvSpPr>
          <p:spPr bwMode="auto">
            <a:xfrm>
              <a:off x="5966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8" name="Line 41" hidden="1"/>
            <p:cNvSpPr>
              <a:spLocks noChangeShapeType="1"/>
            </p:cNvSpPr>
            <p:nvPr/>
          </p:nvSpPr>
          <p:spPr bwMode="auto">
            <a:xfrm>
              <a:off x="0" y="215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9" name="Line 42" hidden="1"/>
            <p:cNvSpPr>
              <a:spLocks noChangeShapeType="1"/>
            </p:cNvSpPr>
            <p:nvPr/>
          </p:nvSpPr>
          <p:spPr bwMode="auto">
            <a:xfrm>
              <a:off x="-12" y="1132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" name="Line 43" hidden="1"/>
            <p:cNvSpPr>
              <a:spLocks noChangeShapeType="1"/>
            </p:cNvSpPr>
            <p:nvPr/>
          </p:nvSpPr>
          <p:spPr bwMode="auto">
            <a:xfrm>
              <a:off x="3119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1" name="Line 44" hidden="1"/>
            <p:cNvSpPr>
              <a:spLocks noChangeShapeType="1"/>
            </p:cNvSpPr>
            <p:nvPr/>
          </p:nvSpPr>
          <p:spPr bwMode="auto">
            <a:xfrm>
              <a:off x="0" y="28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2" name="Line 45" hidden="1"/>
            <p:cNvSpPr>
              <a:spLocks noChangeShapeType="1"/>
            </p:cNvSpPr>
            <p:nvPr/>
          </p:nvSpPr>
          <p:spPr bwMode="auto">
            <a:xfrm>
              <a:off x="0" y="3854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</p:grpSp>
      <p:sp>
        <p:nvSpPr>
          <p:cNvPr id="13" name="Rechteck 12"/>
          <p:cNvSpPr/>
          <p:nvPr userDrawn="1"/>
        </p:nvSpPr>
        <p:spPr>
          <a:xfrm>
            <a:off x="0" y="212554"/>
            <a:ext cx="12192000" cy="12241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150DC89-6F86-9840-B31B-975E362EACA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740" y="0"/>
            <a:ext cx="12192000" cy="165150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defRPr/>
            </a:pPr>
            <a:endParaRPr lang="de-DE" altLang="de-DE"/>
          </a:p>
        </p:txBody>
      </p:sp>
      <p:sp>
        <p:nvSpPr>
          <p:cNvPr id="26" name="Rectangle">
            <a:extLst>
              <a:ext uri="{FF2B5EF4-FFF2-40B4-BE49-F238E27FC236}">
                <a16:creationId xmlns:a16="http://schemas.microsoft.com/office/drawing/2014/main" id="{CC4D1B95-F548-D64B-8BD9-1506EE2EB583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84632" y="459643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27" name="Rectangle 3">
            <a:extLst>
              <a:ext uri="{FF2B5EF4-FFF2-40B4-BE49-F238E27FC236}">
                <a16:creationId xmlns:a16="http://schemas.microsoft.com/office/drawing/2014/main" id="{402B6FBF-277A-2042-BC10-4A4D18C279F8}"/>
              </a:ext>
            </a:extLst>
          </p:cNvPr>
          <p:cNvSpPr>
            <a:spLocks noGrp="1" noChangeArrowheads="1"/>
          </p:cNvSpPr>
          <p:nvPr>
            <p:ph type="subTitle" idx="10"/>
          </p:nvPr>
        </p:nvSpPr>
        <p:spPr>
          <a:xfrm>
            <a:off x="605303" y="951848"/>
            <a:ext cx="10312339" cy="219995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  <p:cxnSp>
        <p:nvCxnSpPr>
          <p:cNvPr id="29" name="Gerade Verbindung 25">
            <a:extLst>
              <a:ext uri="{FF2B5EF4-FFF2-40B4-BE49-F238E27FC236}">
                <a16:creationId xmlns:a16="http://schemas.microsoft.com/office/drawing/2014/main" id="{80BE22B7-75FD-2B4E-8058-A17E50E875A2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-28877" y="1680651"/>
            <a:ext cx="12214137" cy="0"/>
          </a:xfrm>
          <a:prstGeom prst="line">
            <a:avLst/>
          </a:prstGeom>
          <a:ln w="57150">
            <a:solidFill>
              <a:srgbClr val="E4051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62373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4">
            <a:extLst>
              <a:ext uri="{FF2B5EF4-FFF2-40B4-BE49-F238E27FC236}">
                <a16:creationId xmlns:a16="http://schemas.microsoft.com/office/drawing/2014/main" id="{00E8DACC-D9FB-9B42-84B0-CBA4CAA862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6165" y="1683776"/>
            <a:ext cx="12211050" cy="548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shpGrid" hidden="1"/>
          <p:cNvGrpSpPr>
            <a:grpSpLocks/>
          </p:cNvGrpSpPr>
          <p:nvPr/>
        </p:nvGrpSpPr>
        <p:grpSpPr bwMode="auto">
          <a:xfrm>
            <a:off x="-23813" y="0"/>
            <a:ext cx="12215813" cy="6858000"/>
            <a:chOff x="-12" y="0"/>
            <a:chExt cx="6252" cy="4320"/>
          </a:xfrm>
        </p:grpSpPr>
        <p:sp>
          <p:nvSpPr>
            <p:cNvPr id="6" name="Line 39" hidden="1"/>
            <p:cNvSpPr>
              <a:spLocks noChangeShapeType="1"/>
            </p:cNvSpPr>
            <p:nvPr/>
          </p:nvSpPr>
          <p:spPr bwMode="auto">
            <a:xfrm>
              <a:off x="273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7" name="Line 40" hidden="1"/>
            <p:cNvSpPr>
              <a:spLocks noChangeShapeType="1"/>
            </p:cNvSpPr>
            <p:nvPr/>
          </p:nvSpPr>
          <p:spPr bwMode="auto">
            <a:xfrm>
              <a:off x="5966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8" name="Line 41" hidden="1"/>
            <p:cNvSpPr>
              <a:spLocks noChangeShapeType="1"/>
            </p:cNvSpPr>
            <p:nvPr/>
          </p:nvSpPr>
          <p:spPr bwMode="auto">
            <a:xfrm>
              <a:off x="0" y="215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9" name="Line 42" hidden="1"/>
            <p:cNvSpPr>
              <a:spLocks noChangeShapeType="1"/>
            </p:cNvSpPr>
            <p:nvPr/>
          </p:nvSpPr>
          <p:spPr bwMode="auto">
            <a:xfrm>
              <a:off x="-12" y="1132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" name="Line 43" hidden="1"/>
            <p:cNvSpPr>
              <a:spLocks noChangeShapeType="1"/>
            </p:cNvSpPr>
            <p:nvPr/>
          </p:nvSpPr>
          <p:spPr bwMode="auto">
            <a:xfrm>
              <a:off x="3119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1" name="Line 44" hidden="1"/>
            <p:cNvSpPr>
              <a:spLocks noChangeShapeType="1"/>
            </p:cNvSpPr>
            <p:nvPr/>
          </p:nvSpPr>
          <p:spPr bwMode="auto">
            <a:xfrm>
              <a:off x="0" y="28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2" name="Line 45" hidden="1"/>
            <p:cNvSpPr>
              <a:spLocks noChangeShapeType="1"/>
            </p:cNvSpPr>
            <p:nvPr/>
          </p:nvSpPr>
          <p:spPr bwMode="auto">
            <a:xfrm>
              <a:off x="0" y="3854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</p:grpSp>
      <p:sp>
        <p:nvSpPr>
          <p:cNvPr id="13" name="Rechteck 12"/>
          <p:cNvSpPr/>
          <p:nvPr userDrawn="1"/>
        </p:nvSpPr>
        <p:spPr>
          <a:xfrm>
            <a:off x="0" y="212554"/>
            <a:ext cx="12192000" cy="12241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150DC89-6F86-9840-B31B-975E362EACA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740" y="0"/>
            <a:ext cx="12192000" cy="165150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defRPr/>
            </a:pPr>
            <a:endParaRPr lang="de-DE" altLang="de-DE"/>
          </a:p>
        </p:txBody>
      </p:sp>
      <p:sp>
        <p:nvSpPr>
          <p:cNvPr id="26" name="Rectangle">
            <a:extLst>
              <a:ext uri="{FF2B5EF4-FFF2-40B4-BE49-F238E27FC236}">
                <a16:creationId xmlns:a16="http://schemas.microsoft.com/office/drawing/2014/main" id="{CC4D1B95-F548-D64B-8BD9-1506EE2EB583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84632" y="459643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27" name="Rectangle 3">
            <a:extLst>
              <a:ext uri="{FF2B5EF4-FFF2-40B4-BE49-F238E27FC236}">
                <a16:creationId xmlns:a16="http://schemas.microsoft.com/office/drawing/2014/main" id="{402B6FBF-277A-2042-BC10-4A4D18C279F8}"/>
              </a:ext>
            </a:extLst>
          </p:cNvPr>
          <p:cNvSpPr>
            <a:spLocks noGrp="1" noChangeArrowheads="1"/>
          </p:cNvSpPr>
          <p:nvPr>
            <p:ph type="subTitle" idx="10"/>
          </p:nvPr>
        </p:nvSpPr>
        <p:spPr>
          <a:xfrm>
            <a:off x="605303" y="951848"/>
            <a:ext cx="10312339" cy="219995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  <p:cxnSp>
        <p:nvCxnSpPr>
          <p:cNvPr id="29" name="Gerade Verbindung 25">
            <a:extLst>
              <a:ext uri="{FF2B5EF4-FFF2-40B4-BE49-F238E27FC236}">
                <a16:creationId xmlns:a16="http://schemas.microsoft.com/office/drawing/2014/main" id="{80BE22B7-75FD-2B4E-8058-A17E50E875A2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-28877" y="1680651"/>
            <a:ext cx="12214137" cy="0"/>
          </a:xfrm>
          <a:prstGeom prst="line">
            <a:avLst/>
          </a:prstGeom>
          <a:ln w="57150">
            <a:solidFill>
              <a:srgbClr val="E4051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66509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4">
            <a:extLst>
              <a:ext uri="{FF2B5EF4-FFF2-40B4-BE49-F238E27FC236}">
                <a16:creationId xmlns:a16="http://schemas.microsoft.com/office/drawing/2014/main" id="{307B3726-4B10-0B4E-ABF8-F5BD8B6EB8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740" y="1436687"/>
            <a:ext cx="12195175" cy="5421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shpGrid" hidden="1"/>
          <p:cNvGrpSpPr>
            <a:grpSpLocks/>
          </p:cNvGrpSpPr>
          <p:nvPr/>
        </p:nvGrpSpPr>
        <p:grpSpPr bwMode="auto">
          <a:xfrm>
            <a:off x="-23813" y="0"/>
            <a:ext cx="12215813" cy="6858000"/>
            <a:chOff x="-12" y="0"/>
            <a:chExt cx="6252" cy="4320"/>
          </a:xfrm>
        </p:grpSpPr>
        <p:sp>
          <p:nvSpPr>
            <p:cNvPr id="6" name="Line 39" hidden="1"/>
            <p:cNvSpPr>
              <a:spLocks noChangeShapeType="1"/>
            </p:cNvSpPr>
            <p:nvPr/>
          </p:nvSpPr>
          <p:spPr bwMode="auto">
            <a:xfrm>
              <a:off x="273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7" name="Line 40" hidden="1"/>
            <p:cNvSpPr>
              <a:spLocks noChangeShapeType="1"/>
            </p:cNvSpPr>
            <p:nvPr/>
          </p:nvSpPr>
          <p:spPr bwMode="auto">
            <a:xfrm>
              <a:off x="5966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8" name="Line 41" hidden="1"/>
            <p:cNvSpPr>
              <a:spLocks noChangeShapeType="1"/>
            </p:cNvSpPr>
            <p:nvPr/>
          </p:nvSpPr>
          <p:spPr bwMode="auto">
            <a:xfrm>
              <a:off x="0" y="215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9" name="Line 42" hidden="1"/>
            <p:cNvSpPr>
              <a:spLocks noChangeShapeType="1"/>
            </p:cNvSpPr>
            <p:nvPr/>
          </p:nvSpPr>
          <p:spPr bwMode="auto">
            <a:xfrm>
              <a:off x="-12" y="1132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" name="Line 43" hidden="1"/>
            <p:cNvSpPr>
              <a:spLocks noChangeShapeType="1"/>
            </p:cNvSpPr>
            <p:nvPr/>
          </p:nvSpPr>
          <p:spPr bwMode="auto">
            <a:xfrm>
              <a:off x="3119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1" name="Line 44" hidden="1"/>
            <p:cNvSpPr>
              <a:spLocks noChangeShapeType="1"/>
            </p:cNvSpPr>
            <p:nvPr/>
          </p:nvSpPr>
          <p:spPr bwMode="auto">
            <a:xfrm>
              <a:off x="0" y="28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2" name="Line 45" hidden="1"/>
            <p:cNvSpPr>
              <a:spLocks noChangeShapeType="1"/>
            </p:cNvSpPr>
            <p:nvPr/>
          </p:nvSpPr>
          <p:spPr bwMode="auto">
            <a:xfrm>
              <a:off x="0" y="3854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</p:grpSp>
      <p:sp>
        <p:nvSpPr>
          <p:cNvPr id="13" name="Rechteck 12"/>
          <p:cNvSpPr/>
          <p:nvPr userDrawn="1"/>
        </p:nvSpPr>
        <p:spPr>
          <a:xfrm>
            <a:off x="0" y="212554"/>
            <a:ext cx="12192000" cy="12241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150DC89-6F86-9840-B31B-975E362EACA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740" y="0"/>
            <a:ext cx="12192000" cy="165150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defRPr/>
            </a:pPr>
            <a:endParaRPr lang="de-DE" altLang="de-DE"/>
          </a:p>
        </p:txBody>
      </p:sp>
      <p:sp>
        <p:nvSpPr>
          <p:cNvPr id="26" name="Rectangle">
            <a:extLst>
              <a:ext uri="{FF2B5EF4-FFF2-40B4-BE49-F238E27FC236}">
                <a16:creationId xmlns:a16="http://schemas.microsoft.com/office/drawing/2014/main" id="{CC4D1B95-F548-D64B-8BD9-1506EE2EB583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84632" y="459643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27" name="Rectangle 3">
            <a:extLst>
              <a:ext uri="{FF2B5EF4-FFF2-40B4-BE49-F238E27FC236}">
                <a16:creationId xmlns:a16="http://schemas.microsoft.com/office/drawing/2014/main" id="{402B6FBF-277A-2042-BC10-4A4D18C279F8}"/>
              </a:ext>
            </a:extLst>
          </p:cNvPr>
          <p:cNvSpPr>
            <a:spLocks noGrp="1" noChangeArrowheads="1"/>
          </p:cNvSpPr>
          <p:nvPr>
            <p:ph type="subTitle" idx="10"/>
          </p:nvPr>
        </p:nvSpPr>
        <p:spPr>
          <a:xfrm>
            <a:off x="605303" y="951848"/>
            <a:ext cx="10312339" cy="219995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  <p:cxnSp>
        <p:nvCxnSpPr>
          <p:cNvPr id="29" name="Gerade Verbindung 25">
            <a:extLst>
              <a:ext uri="{FF2B5EF4-FFF2-40B4-BE49-F238E27FC236}">
                <a16:creationId xmlns:a16="http://schemas.microsoft.com/office/drawing/2014/main" id="{80BE22B7-75FD-2B4E-8058-A17E50E875A2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-28877" y="1680651"/>
            <a:ext cx="12214137" cy="0"/>
          </a:xfrm>
          <a:prstGeom prst="line">
            <a:avLst/>
          </a:prstGeom>
          <a:ln w="57150">
            <a:solidFill>
              <a:srgbClr val="E4051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05455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ubheading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shpGrid" hidden="1"/>
          <p:cNvGrpSpPr>
            <a:grpSpLocks/>
          </p:cNvGrpSpPr>
          <p:nvPr/>
        </p:nvGrpSpPr>
        <p:grpSpPr bwMode="auto">
          <a:xfrm>
            <a:off x="-23813" y="0"/>
            <a:ext cx="12215813" cy="6858000"/>
            <a:chOff x="-12" y="0"/>
            <a:chExt cx="6252" cy="4320"/>
          </a:xfrm>
        </p:grpSpPr>
        <p:sp>
          <p:nvSpPr>
            <p:cNvPr id="6" name="Line 39" hidden="1"/>
            <p:cNvSpPr>
              <a:spLocks noChangeShapeType="1"/>
            </p:cNvSpPr>
            <p:nvPr/>
          </p:nvSpPr>
          <p:spPr bwMode="auto">
            <a:xfrm>
              <a:off x="273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7" name="Line 40" hidden="1"/>
            <p:cNvSpPr>
              <a:spLocks noChangeShapeType="1"/>
            </p:cNvSpPr>
            <p:nvPr/>
          </p:nvSpPr>
          <p:spPr bwMode="auto">
            <a:xfrm>
              <a:off x="5966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8" name="Line 41" hidden="1"/>
            <p:cNvSpPr>
              <a:spLocks noChangeShapeType="1"/>
            </p:cNvSpPr>
            <p:nvPr/>
          </p:nvSpPr>
          <p:spPr bwMode="auto">
            <a:xfrm>
              <a:off x="0" y="215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9" name="Line 42" hidden="1"/>
            <p:cNvSpPr>
              <a:spLocks noChangeShapeType="1"/>
            </p:cNvSpPr>
            <p:nvPr/>
          </p:nvSpPr>
          <p:spPr bwMode="auto">
            <a:xfrm>
              <a:off x="-12" y="1132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" name="Line 43" hidden="1"/>
            <p:cNvSpPr>
              <a:spLocks noChangeShapeType="1"/>
            </p:cNvSpPr>
            <p:nvPr/>
          </p:nvSpPr>
          <p:spPr bwMode="auto">
            <a:xfrm>
              <a:off x="3119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1" name="Line 44" hidden="1"/>
            <p:cNvSpPr>
              <a:spLocks noChangeShapeType="1"/>
            </p:cNvSpPr>
            <p:nvPr/>
          </p:nvSpPr>
          <p:spPr bwMode="auto">
            <a:xfrm>
              <a:off x="0" y="28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2" name="Line 45" hidden="1"/>
            <p:cNvSpPr>
              <a:spLocks noChangeShapeType="1"/>
            </p:cNvSpPr>
            <p:nvPr/>
          </p:nvSpPr>
          <p:spPr bwMode="auto">
            <a:xfrm>
              <a:off x="0" y="3854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</p:grpSp>
    </p:spTree>
    <p:extLst>
      <p:ext uri="{BB962C8B-B14F-4D97-AF65-F5344CB8AC3E}">
        <p14:creationId xmlns:p14="http://schemas.microsoft.com/office/powerpoint/2010/main" val="42024691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7850" y="1652052"/>
            <a:ext cx="11056938" cy="4364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altLang="de-DE" dirty="0"/>
              <a:t>Mastertextformat bearbeiten</a:t>
            </a:r>
          </a:p>
          <a:p>
            <a:pPr lvl="1"/>
            <a:endParaRPr lang="de-CH" altLang="de-DE" dirty="0"/>
          </a:p>
          <a:p>
            <a:pPr lvl="1"/>
            <a:endParaRPr lang="de-CH" altLang="de-DE" dirty="0"/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77850" y="458561"/>
            <a:ext cx="11028363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altLang="de-DE" dirty="0"/>
              <a:t>Mastertitelformat bearbeiten</a:t>
            </a:r>
          </a:p>
        </p:txBody>
      </p:sp>
      <p:grpSp>
        <p:nvGrpSpPr>
          <p:cNvPr id="1029" name="shpGrid" hidden="1"/>
          <p:cNvGrpSpPr>
            <a:grpSpLocks/>
          </p:cNvGrpSpPr>
          <p:nvPr/>
        </p:nvGrpSpPr>
        <p:grpSpPr bwMode="auto">
          <a:xfrm>
            <a:off x="-23813" y="0"/>
            <a:ext cx="12215813" cy="6858000"/>
            <a:chOff x="-12" y="0"/>
            <a:chExt cx="6252" cy="4320"/>
          </a:xfrm>
        </p:grpSpPr>
        <p:sp>
          <p:nvSpPr>
            <p:cNvPr id="1032" name="Line 25" hidden="1"/>
            <p:cNvSpPr>
              <a:spLocks noChangeShapeType="1"/>
            </p:cNvSpPr>
            <p:nvPr/>
          </p:nvSpPr>
          <p:spPr bwMode="auto">
            <a:xfrm>
              <a:off x="273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33" name="Line 26" hidden="1"/>
            <p:cNvSpPr>
              <a:spLocks noChangeShapeType="1"/>
            </p:cNvSpPr>
            <p:nvPr/>
          </p:nvSpPr>
          <p:spPr bwMode="auto">
            <a:xfrm>
              <a:off x="5966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34" name="Line 20" hidden="1"/>
            <p:cNvSpPr>
              <a:spLocks noChangeShapeType="1"/>
            </p:cNvSpPr>
            <p:nvPr/>
          </p:nvSpPr>
          <p:spPr bwMode="auto">
            <a:xfrm>
              <a:off x="0" y="215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35" name="Line 23" hidden="1"/>
            <p:cNvSpPr>
              <a:spLocks noChangeShapeType="1"/>
            </p:cNvSpPr>
            <p:nvPr/>
          </p:nvSpPr>
          <p:spPr bwMode="auto">
            <a:xfrm>
              <a:off x="-12" y="1132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36" name="Line 27" hidden="1"/>
            <p:cNvSpPr>
              <a:spLocks noChangeShapeType="1"/>
            </p:cNvSpPr>
            <p:nvPr/>
          </p:nvSpPr>
          <p:spPr bwMode="auto">
            <a:xfrm>
              <a:off x="3119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37" name="Line 28" hidden="1"/>
            <p:cNvSpPr>
              <a:spLocks noChangeShapeType="1"/>
            </p:cNvSpPr>
            <p:nvPr/>
          </p:nvSpPr>
          <p:spPr bwMode="auto">
            <a:xfrm>
              <a:off x="0" y="28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38" name="Line 38" hidden="1"/>
            <p:cNvSpPr>
              <a:spLocks noChangeShapeType="1"/>
            </p:cNvSpPr>
            <p:nvPr/>
          </p:nvSpPr>
          <p:spPr bwMode="auto">
            <a:xfrm>
              <a:off x="0" y="3854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</p:grpSp>
      <p:sp>
        <p:nvSpPr>
          <p:cNvPr id="19" name="Rectangle 2"/>
          <p:cNvSpPr>
            <a:spLocks noChangeArrowheads="1"/>
          </p:cNvSpPr>
          <p:nvPr userDrawn="1"/>
        </p:nvSpPr>
        <p:spPr bwMode="auto">
          <a:xfrm>
            <a:off x="5973626" y="6311639"/>
            <a:ext cx="339725" cy="296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30000"/>
              </a:spcBef>
              <a:defRPr/>
            </a:pPr>
            <a:fld id="{427F29B5-77C0-4C6E-A646-C78C038AB6E7}" type="slidenum">
              <a:rPr lang="de-CH" altLang="de-DE" sz="1200" b="1" smtClean="0">
                <a:latin typeface="+mj-lt"/>
              </a:rPr>
              <a:pPr algn="ctr" eaLnBrk="1" hangingPunct="1">
                <a:spcBef>
                  <a:spcPct val="30000"/>
                </a:spcBef>
                <a:defRPr/>
              </a:pPr>
              <a:t>‹Nr.›</a:t>
            </a:fld>
            <a:endParaRPr lang="de-CH" altLang="de-DE" sz="1200" b="1" dirty="0">
              <a:latin typeface="+mj-lt"/>
            </a:endParaRPr>
          </a:p>
        </p:txBody>
      </p:sp>
      <p:cxnSp>
        <p:nvCxnSpPr>
          <p:cNvPr id="24" name="Gerade Verbindung 25">
            <a:extLst>
              <a:ext uri="{FF2B5EF4-FFF2-40B4-BE49-F238E27FC236}">
                <a16:creationId xmlns:a16="http://schemas.microsoft.com/office/drawing/2014/main" id="{5C2CEFE7-5170-9242-9857-21FF24138027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584634" y="6244349"/>
            <a:ext cx="11050154" cy="0"/>
          </a:xfrm>
          <a:prstGeom prst="line">
            <a:avLst/>
          </a:prstGeom>
          <a:ln w="57150">
            <a:solidFill>
              <a:srgbClr val="E4051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fik 2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E0AD3816-638D-E040-9845-6152C8F69D1F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9885" y="6349739"/>
            <a:ext cx="224903" cy="228683"/>
          </a:xfrm>
          <a:prstGeom prst="rect">
            <a:avLst/>
          </a:prstGeom>
        </p:spPr>
      </p:pic>
      <p:sp>
        <p:nvSpPr>
          <p:cNvPr id="15" name="Rectangle 2">
            <a:extLst>
              <a:ext uri="{FF2B5EF4-FFF2-40B4-BE49-F238E27FC236}">
                <a16:creationId xmlns:a16="http://schemas.microsoft.com/office/drawing/2014/main" id="{E31F6339-89EF-0E46-9106-C940DF96A03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95144" y="6381800"/>
            <a:ext cx="5282956" cy="192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7312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87312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defTabSz="87312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defTabSz="87312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defTabSz="87312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12" algn="l" defTabSz="87314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6pPr>
            <a:lvl7pPr marL="914423" algn="l" defTabSz="87314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7pPr>
            <a:lvl8pPr marL="1371634" algn="l" defTabSz="87314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8pPr>
            <a:lvl9pPr marL="1828846" algn="l" defTabSz="87314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e-CH" altLang="de-DE" sz="1200" kern="0" dirty="0"/>
              <a:t>Unternehmenstitel | Referent (Optional)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9331" r:id="rId1"/>
    <p:sldLayoutId id="2147489261" r:id="rId2"/>
    <p:sldLayoutId id="2147489332" r:id="rId3"/>
    <p:sldLayoutId id="2147489328" r:id="rId4"/>
    <p:sldLayoutId id="2147489262" r:id="rId5"/>
    <p:sldLayoutId id="2147489317" r:id="rId6"/>
    <p:sldLayoutId id="2147489329" r:id="rId7"/>
    <p:sldLayoutId id="2147489330" r:id="rId8"/>
    <p:sldLayoutId id="2147489316" r:id="rId9"/>
  </p:sldLayoutIdLst>
  <p:hf hdr="0" ftr="0" dt="0"/>
  <p:txStyles>
    <p:titleStyle>
      <a:lvl1pPr algn="l" defTabSz="8731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anose="020B0604020202020204" pitchFamily="34" charset="0"/>
        </a:defRPr>
      </a:lvl2pPr>
      <a:lvl3pPr algn="l" defTabSz="8731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anose="020B0604020202020204" pitchFamily="34" charset="0"/>
        </a:defRPr>
      </a:lvl3pPr>
      <a:lvl4pPr algn="l" defTabSz="8731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anose="020B0604020202020204" pitchFamily="34" charset="0"/>
        </a:defRPr>
      </a:lvl4pPr>
      <a:lvl5pPr algn="l" defTabSz="8731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anose="020B0604020202020204" pitchFamily="34" charset="0"/>
        </a:defRPr>
      </a:lvl5pPr>
      <a:lvl6pPr marL="457212" algn="l" defTabSz="87314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23" algn="l" defTabSz="87314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34" algn="l" defTabSz="87314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46" algn="l" defTabSz="87314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12738" indent="-312738" algn="l" defTabSz="873125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tabLst/>
        <a:defRPr sz="1800">
          <a:solidFill>
            <a:schemeClr val="tx1"/>
          </a:solidFill>
          <a:latin typeface="+mj-lt"/>
          <a:ea typeface="+mn-ea"/>
          <a:cs typeface="+mn-cs"/>
        </a:defRPr>
      </a:lvl1pPr>
      <a:lvl2pPr marL="671513" indent="-327025" algn="l" defTabSz="873125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tabLst/>
        <a:defRPr sz="1800">
          <a:solidFill>
            <a:schemeClr val="tx1"/>
          </a:solidFill>
          <a:latin typeface="+mj-lt"/>
        </a:defRPr>
      </a:lvl2pPr>
      <a:lvl3pPr marL="1030288" indent="-314325" algn="l" defTabSz="873125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tabLst/>
        <a:defRPr sz="1800">
          <a:solidFill>
            <a:schemeClr val="tx1"/>
          </a:solidFill>
          <a:latin typeface="+mj-lt"/>
        </a:defRPr>
      </a:lvl3pPr>
      <a:lvl4pPr marL="1379538" indent="-304800" algn="l" defTabSz="873125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tabLst/>
        <a:defRPr sz="1800">
          <a:solidFill>
            <a:schemeClr val="tx1"/>
          </a:solidFill>
          <a:latin typeface="+mj-lt"/>
        </a:defRPr>
      </a:lvl4pPr>
      <a:lvl5pPr marL="1797050" indent="-354013" algn="l" defTabSz="873125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>
          <a:solidFill>
            <a:schemeClr val="tx1"/>
          </a:solidFill>
          <a:latin typeface="+mj-lt"/>
        </a:defRPr>
      </a:lvl5pPr>
      <a:lvl6pPr marL="2254306" indent="-354022" algn="l" defTabSz="873147" rtl="0" eaLnBrk="1" fontAlgn="base" hangingPunct="1">
        <a:spcBef>
          <a:spcPct val="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</a:defRPr>
      </a:lvl6pPr>
      <a:lvl7pPr marL="2711518" indent="-354022" algn="l" defTabSz="873147" rtl="0" eaLnBrk="1" fontAlgn="base" hangingPunct="1">
        <a:spcBef>
          <a:spcPct val="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</a:defRPr>
      </a:lvl7pPr>
      <a:lvl8pPr marL="3168729" indent="-354022" algn="l" defTabSz="873147" rtl="0" eaLnBrk="1" fontAlgn="base" hangingPunct="1">
        <a:spcBef>
          <a:spcPct val="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</a:defRPr>
      </a:lvl8pPr>
      <a:lvl9pPr marL="3625941" indent="-354022" algn="l" defTabSz="873147" rtl="0" eaLnBrk="1" fontAlgn="base" hangingPunct="1">
        <a:spcBef>
          <a:spcPct val="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EDCD57-012D-2B42-AAD8-9D8362B4CF5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Change Management Interdiscount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904CBD5-128D-4D4B-9DE3-FC55853DFB1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Modul 150							Enno Kalbfell und Laura Batista</a:t>
            </a:r>
          </a:p>
        </p:txBody>
      </p:sp>
    </p:spTree>
    <p:extLst>
      <p:ext uri="{BB962C8B-B14F-4D97-AF65-F5344CB8AC3E}">
        <p14:creationId xmlns:p14="http://schemas.microsoft.com/office/powerpoint/2010/main" val="32897305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CF9B89F7-BD46-4841-9730-F19C986D9CF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Change Management Diagramm</a:t>
            </a:r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419DDB1A-E918-5D49-A89B-56443A457FFB}"/>
              </a:ext>
            </a:extLst>
          </p:cNvPr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449" y="1159329"/>
            <a:ext cx="10591102" cy="4835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0493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350E77E0-3097-554F-B5C3-1A58781C3DC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27209391"/>
              </p:ext>
            </p:extLst>
          </p:nvPr>
        </p:nvGraphicFramePr>
        <p:xfrm>
          <a:off x="584632" y="2227917"/>
          <a:ext cx="11008654" cy="17072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63DB55A1-2590-664B-8EAD-C729BCCD544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Ablauf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1B1DBE8-1C1B-5E46-9ABD-06DFEF596691}"/>
              </a:ext>
            </a:extLst>
          </p:cNvPr>
          <p:cNvSpPr txBox="1"/>
          <p:nvPr/>
        </p:nvSpPr>
        <p:spPr>
          <a:xfrm>
            <a:off x="598714" y="3712476"/>
            <a:ext cx="18137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Definiert Änderung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3ADEBAE-282C-9340-A8B9-D94B7237327E}"/>
              </a:ext>
            </a:extLst>
          </p:cNvPr>
          <p:cNvSpPr txBox="1"/>
          <p:nvPr/>
        </p:nvSpPr>
        <p:spPr>
          <a:xfrm>
            <a:off x="2426501" y="3712476"/>
            <a:ext cx="18137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Implementiert Antra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Bewilligt Import in Produktio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349F687-BECF-E943-87FB-D969A9AE6613}"/>
              </a:ext>
            </a:extLst>
          </p:cNvPr>
          <p:cNvSpPr txBox="1"/>
          <p:nvPr/>
        </p:nvSpPr>
        <p:spPr>
          <a:xfrm>
            <a:off x="4240206" y="3666309"/>
            <a:ext cx="16217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Setzt Änderungen um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6AF2BD5-8D99-8842-9B80-1886AA367D90}"/>
              </a:ext>
            </a:extLst>
          </p:cNvPr>
          <p:cNvSpPr txBox="1"/>
          <p:nvPr/>
        </p:nvSpPr>
        <p:spPr>
          <a:xfrm>
            <a:off x="5861957" y="3653137"/>
            <a:ext cx="16217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Führt Tests durch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C558387-F90A-1449-BCB4-E0D9241D4D89}"/>
              </a:ext>
            </a:extLst>
          </p:cNvPr>
          <p:cNvSpPr txBox="1"/>
          <p:nvPr/>
        </p:nvSpPr>
        <p:spPr>
          <a:xfrm>
            <a:off x="7675662" y="3653136"/>
            <a:ext cx="16217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Schnittstelle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66206934-A472-0641-8173-925C6078CB12}"/>
              </a:ext>
            </a:extLst>
          </p:cNvPr>
          <p:cNvSpPr txBox="1"/>
          <p:nvPr/>
        </p:nvSpPr>
        <p:spPr>
          <a:xfrm>
            <a:off x="9340515" y="3653136"/>
            <a:ext cx="16217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Originaltransporte importieren</a:t>
            </a:r>
          </a:p>
        </p:txBody>
      </p:sp>
    </p:spTree>
    <p:extLst>
      <p:ext uri="{BB962C8B-B14F-4D97-AF65-F5344CB8AC3E}">
        <p14:creationId xmlns:p14="http://schemas.microsoft.com/office/powerpoint/2010/main" val="3069525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DE505B-80EB-4E42-9135-EA840592C84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Formular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FA34673-22DB-5D4B-978E-36856C46B20C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632" y="1016399"/>
            <a:ext cx="4966200" cy="5119118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FF6AC1B7-EC87-3B48-B4B9-B62EE028EE29}"/>
              </a:ext>
            </a:extLst>
          </p:cNvPr>
          <p:cNvSpPr txBox="1"/>
          <p:nvPr/>
        </p:nvSpPr>
        <p:spPr>
          <a:xfrm>
            <a:off x="5746058" y="1016399"/>
            <a:ext cx="516142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800" dirty="0"/>
              <a:t>Um Änderungen in SAP zu machen, müssen zuerst ein Formular ausgefüllt werden (siehe Abbildung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800" dirty="0"/>
              <a:t>Kleine Änderungen werden vor Import in das Produktivsystem nicht immer überprüf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800" dirty="0" err="1"/>
              <a:t>Grössere</a:t>
            </a:r>
            <a:r>
              <a:rPr lang="de-DE" sz="1800" dirty="0"/>
              <a:t> Änderungen werden </a:t>
            </a:r>
            <a:r>
              <a:rPr lang="de-DE" sz="1800" dirty="0" err="1"/>
              <a:t>ausserhalb</a:t>
            </a:r>
            <a:r>
              <a:rPr lang="de-DE" sz="1800" dirty="0"/>
              <a:t> der Betriebszeit übernommen, um Schäden zu vermeiden</a:t>
            </a:r>
          </a:p>
        </p:txBody>
      </p:sp>
    </p:spTree>
    <p:extLst>
      <p:ext uri="{BB962C8B-B14F-4D97-AF65-F5344CB8AC3E}">
        <p14:creationId xmlns:p14="http://schemas.microsoft.com/office/powerpoint/2010/main" val="14922867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EEA6C1E-87D9-9847-A878-FF4CC99556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8303" y="671915"/>
            <a:ext cx="10322853" cy="409798"/>
          </a:xfrm>
        </p:spPr>
        <p:txBody>
          <a:bodyPr/>
          <a:lstStyle/>
          <a:p>
            <a:r>
              <a:rPr lang="de-DE" dirty="0"/>
              <a:t>Vielen Dank 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29324440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RPPTTYPE" val="EECPPT"/>
  <p:tag name="VARPOTVERSION" val="EEC1.6"/>
  <p:tag name="VARPPTGRIDMODE" val="EECgrid_hide"/>
  <p:tag name="VARPPTFOOTER" val="EECTitel / Anlass, Autor"/>
  <p:tag name="VARPPTFOOTERDATE" val="EEC29.06.2010"/>
  <p:tag name="VARPPTPLACE" val="EECOrt"/>
  <p:tag name="VARPPTAUTHOR" val="EECAutor / Vortragender / Projektgruppe / Anlass"/>
  <p:tag name="VARPPTTITLE" val="EECTitel der Präsentation"/>
  <p:tag name="VARPPTPROJECT" val="EECBezug / Projekt / Gremium"/>
  <p:tag name="VARPPTSETUPPERFORMED" val="EECTRUE"/>
  <p:tag name="VARPPTLOGOSEL" val="EEC4"/>
  <p:tag name="VARPPTCOLOGOSEL" val="EEC-1"/>
  <p:tag name="VARPPTLOGOHEADERSINGLELOGOFILENAME_DE" val="EECCoop_45_cmyk.wmf"/>
  <p:tag name="VARPPTLOGOHEADERSINGLELOGOFILENAME_FR" val="EECCoop_45_cmyk.wmf"/>
  <p:tag name="VARPPTLOGOHEADERSINGLELOGOFILENAME_IT" val="EECCoop_45_cmyk.wmf"/>
  <p:tag name="VARPPTLOGOHEADERSINGLELOGOFILENAME_EN" val="EECCoop_45_cmyk.wmf"/>
  <p:tag name="VARPPTLOGOHEADERPOSRIGHT" val="EEC34"/>
  <p:tag name="VARPPTLOGOHEADERPOSTOP" val="EEC85"/>
  <p:tag name="VARPPTLOGOFOOTERPOSBOTTOM" val="EEC519"/>
  <p:tag name="VARPPTLOGOHEADERCOLOGOFILENAMERIGHT_DE" val="EEC"/>
  <p:tag name="VARPPTLOGOHEADERCOLOGOFILENAMERIGHT_FR" val="EEC"/>
  <p:tag name="VARPPTLOGOHEADERCOLOGOFILENAMERIGHT_IT" val="EEC"/>
  <p:tag name="VARPPTLOGOHEADERCOLOGOFILENAMERIGHT_EN" val="EEC"/>
  <p:tag name="VARPPTLOGOHEADERCOLOGOFILENAMELEFT_DE" val="EEC"/>
  <p:tag name="VARPPTLOGOHEADERCOLOGOFILENAMELEFT_FR" val="EEC"/>
  <p:tag name="VARPPTLOGOHEADERCOLOGOFILENAMELEFT_IT" val="EEC"/>
  <p:tag name="VARPPTLOGOHEADERCOLOGOFILENAMELEFT_EN" val="EEC"/>
  <p:tag name="VARPPTLOGOFOOTERCOLOGOFILENAMERIGHT_DE" val="EEC"/>
  <p:tag name="VARPPTLOGOFOOTERCOLOGOFILENAMERIGHT_FR" val="EEC"/>
  <p:tag name="VARPPTLOGOFOOTERCOLOGOFILENAMERIGHT_IT" val="EEC"/>
  <p:tag name="VARPPTLOGOFOOTERCOLOGOFILENAMERIGHT_EN" val="EEC"/>
  <p:tag name="VARPPTLOGOFOOTERCOLOGOFILENAMELEFT_DE" val="EEC"/>
  <p:tag name="VARPPTLOGOFOOTERCOLOGOFILENAMELEFT_FR" val="EEC"/>
  <p:tag name="VARPPTLOGOFOOTERCOLOGOFILENAMELEFT_IT" val="EEC"/>
  <p:tag name="VARPPTLOGOFOOTERCOLOGOFILENAMELEFT_EN" val="EEC"/>
  <p:tag name="VARPPTLOGOFOOTERSINGLELOGOFILENAME_DE" val="EECCoop_20_cmyk.wmf"/>
  <p:tag name="VARPPTLOGOFOOTERSINGLELOGOFILENAME_FR" val="EECCoop_20_cmyk.wmf"/>
  <p:tag name="VARPPTLOGOFOOTERSINGLELOGOFILENAME_IT" val="EECCoop_20_cmyk.wmf"/>
  <p:tag name="VARPPTLOGOFOOTERSINGLELOGOFILENAME_EN" val="EECCoop_20_cmyk.wmf"/>
  <p:tag name="VARPPTLANGSEL" val="EEC0"/>
  <p:tag name="VARPPTLANG" val="EECGerman"/>
  <p:tag name="OAWWIZARDSTEPS" val="0|1|4"/>
  <p:tag name="ZOAWLANGID" val="2055"/>
  <p:tag name="OAWDOCPROPSOURCE" val="&lt;DocProps&gt;&lt;DocProp UID=&quot;2002122011014149059130932&quot; EntryUID=&quot;2010062814203817393765&quot;&gt;&lt;Field Name=&quot;IDName&quot; Value=&quot;Interdiscount&quot;/&gt;&lt;Field Name=&quot;Firma&quot; Value=&quot;Interdiscount&quot;/&gt;&lt;Field Name=&quot;Genossenschaft&quot; Value=&quot;&quot;/&gt;&lt;Field Name=&quot;GenossenschaftszusatzLinie1&quot; Value=&quot;Division der&quot;/&gt;&lt;Field Name=&quot;GenossenschaftszusatzLinie2&quot; Value=&quot;Coop Genossenschaft&quot;/&gt;&lt;Field Name=&quot;GenossenschaftszusatzLinie3&quot; Value=&quot;&quot;/&gt;&lt;Field Name=&quot;LogoColor&quot; Value=&quot;%Logos%\Interdiscount.Logo.Color.2100.300.wmf&quot;/&gt;&lt;Field Name=&quot;LogoBlackWhite&quot; Value=&quot;%Logos%\Interdiscount.Logo.BW.2100.300.wmf&quot;/&gt;&lt;Field Name=&quot;Internet&quot; Value=&quot;www.interdiscount.ch&quot;/&gt;&lt;Field Name=&quot;MWST&quot; Value=&quot;CHE-116.311.185 MWST&quot;/&gt;&lt;Field Name=&quot;LogoBlackWhiteLandscape&quot; Value=&quot;%Logos%\Interdiscount.Logo.BW.2970.300.wmf&quot;/&gt;&lt;Field Name=&quot;LogoColorLandscape&quot; Value=&quot;%Logos%\Interdiscount.Logo.Color.2970.300.wmf&quot;/&gt;&lt;Field Name=&quot;LogoPowerPointTitleSlide&quot; Value=&quot;%Logos%\PowerPoint\Interdiscount_Titelfolie.wmf&quot;/&gt;&lt;Field Name=&quot;LogoPowerPointFooter&quot; Value=&quot;%Logos%\PowerPoint\Interdiscount_Fusszeile.wmf&quot;/&gt;&lt;Field Name=&quot;Disclaimer&quot; Value=&quot;Division der Coop&quot;/&gt;&lt;Field Name=&quot;Data_UID&quot; Value=&quot;2010062814203817393765&quot;/&gt;&lt;Field Name=&quot;Field_Name&quot; Value=&quot;GenossenschaftszusatzLinie1&quot;/&gt;&lt;Field Name=&quot;Field_UID&quot; Value=&quot;20030218192839312933770742&quot;/&gt;&lt;Field Name=&quot;ML_LCID&quot; Value=&quot;2055&quot;/&gt;&lt;Field Name=&quot;ML_Value&quot; Value=&quot;Division der&quot;/&gt;&lt;/DocProp&gt;&lt;DocProp UID=&quot;2010042615333021260265&quot; EntryUID=&quot;2004123010144120300001&quot;&gt;&lt;Field Name=&quot;IDName&quot; Value=&quot;(Benutzerdefiniert)&quot;/&gt;&lt;Field Name=&quot;Vorname&quot; Value=&quot;Constantin&quot;/&gt;&lt;Field Name=&quot;Name&quot; Value=&quot;Hilt&quot;/&gt;&lt;Field Name=&quot;NameKomplett&quot; Value=&quot;Hilt Constantin&quot;/&gt;&lt;Field Name=&quot;Direktion&quot; Value=&quot;&quot;/&gt;&lt;Field Name=&quot;Organisationsbereich&quot; Value=&quot;&quot;/&gt;&lt;Field Name=&quot;Organisationseinheit&quot; Value=&quot;&quot;/&gt;&lt;Field Name=&quot;Abteilung&quot; Value=&quot;Direktion ID&quot;/&gt;&lt;Field Name=&quot;RegionHauptsitz&quot; Value=&quot;&quot;/&gt;&lt;Field Name=&quot;UserID&quot; Value=&quot;HILCO&quot;/&gt;&lt;Field Name=&quot;Titel&quot; Value=&quot;&quot;/&gt;&lt;Field Name=&quot;ManagementTitel&quot; Value=&quot;&quot;/&gt;&lt;Field Name=&quot;Funktion&quot; Value=&quot;&quot;/&gt;&lt;Field Name=&quot;Adresse&quot; Value=&quot;Bernstrasse 90&quot;/&gt;&lt;Field Name=&quot;Adresszusatz&quot; Value=&quot;&quot;/&gt;&lt;Field Name=&quot;Postleitzahl&quot; Value=&quot;3303&quot;/&gt;&lt;Field Name=&quot;Ort&quot; Value=&quot;Jegenstorf&quot;/&gt;&lt;Field Name=&quot;Land&quot; Value=&quot;Schweiz&quot;/&gt;&lt;Field Name=&quot;Direktwahl&quot; Value=&quot;+41 31 764 44 27&quot;/&gt;&lt;Field Name=&quot;Fax&quot; Value=&quot;+41 31 764 42 20&quot;/&gt;&lt;Field Name=&quot;Mobile&quot; Value=&quot;+41 78 744 90 15&quot;/&gt;&lt;Field Name=&quot;Email&quot; Value=&quot;Constantin.Hilt@interdiscount.ch&quot;/&gt;&lt;Field Name=&quot;Unterschrift&quot; Value=&quot;&quot;/&gt;&lt;/DocProp&gt;&lt;DocProp UID=&quot;200212191811121321310321301031x&quot; EntryUID=&quot;2010100413110893148656&quot;&gt;&lt;Field Name=&quot;IDName&quot; Value=&quot;Wenger Pierre - WEPID&quot;/&gt;&lt;Field Name=&quot;Vorname&quot; Value=&quot;Pierre&quot;/&gt;&lt;Field Name=&quot;Name&quot; Value=&quot;Wenger&quot;/&gt;&lt;Field Name=&quot;NameKomplett&quot; Value=&quot;Wenger Pierre&quot;/&gt;&lt;Field Name=&quot;Direktion&quot; Value=&quot;D2 Trading&quot;/&gt;&lt;Field Name=&quot;Organisationsbereich&quot; Value=&quot;Interdiscount&quot;/&gt;&lt;Field Name=&quot;Organisationseinheit&quot; Value=&quot;&quot;/&gt;&lt;Field Name=&quot;Abteilung&quot; Value=&quot;Interdiscount&quot;/&gt;&lt;Field Name=&quot;RegionHauptsitz&quot; Value=&quot;Bern&quot;/&gt;&lt;Field Name=&quot;UserID&quot; Value=&quot;WEPID&quot;/&gt;&lt;Field Name=&quot;Titel&quot; Value=&quot;&quot;/&gt;&lt;Field Name=&quot;ManagementTitel&quot; Value=&quot;&quot;/&gt;&lt;Field Name=&quot;Funktion&quot; Value=&quot;Leiter Interdiscount&quot;/&gt;&lt;Field Name=&quot;Adresse&quot; Value=&quot;Bernstrasse 90&quot;/&gt;&lt;Field Name=&quot;Adresszusatz&quot; Value=&quot;&quot;/&gt;&lt;Field Name=&quot;Postleitzahl&quot; Value=&quot;3303&quot;/&gt;&lt;Field Name=&quot;Ort&quot; Value=&quot;Jegenstorf&quot;/&gt;&lt;Field Name=&quot;Land&quot; Value=&quot;Schweiz&quot;/&gt;&lt;Field Name=&quot;Fax&quot; Value=&quot;+41 31 764 44 74&quot;/&gt;&lt;Field Name=&quot;Mobile&quot; Value=&quot;+41 78 636 38 15&quot;/&gt;&lt;Field Name=&quot;Email&quot; Value=&quot;Pierre.Wenger@interdiscount.ch&quot;/&gt;&lt;Field Name=&quot;Unterschrift&quot; Value=&quot;&quot;/&gt;&lt;Field Name=&quot;Direktwahl&quot; Value=&quot;+41 31 764 44 84&quot;/&gt;&lt;Field Name=&quot;Data_UID&quot; Value=&quot;2010100413110893148656&quot;/&gt;&lt;Field Name=&quot;Field_Name&quot; Value=&quot;Funktion&quot;/&gt;&lt;Field Name=&quot;Field_UID&quot; Value=&quot;20030218193544317182370664&quot;/&gt;&lt;Field Name=&quot;ML_LCID&quot; Value=&quot;2055&quot;/&gt;&lt;Field Name=&quot;ML_Value&quot; Value=&quot;Leiter Interdiscount&quot;/&gt;&lt;/DocProp&gt;&lt;DocProp UID=&quot;2002122010583847234010578&quot; EntryUID=&quot;2003121817293296325874&quot;&gt;&lt;Field Name=&quot;IDName&quot; Value=&quot;(Leer)&quot;/&gt;&lt;/DocProp&gt;&lt;DocProp UID=&quot;2003061115381095709037&quot; EntryUID=&quot;2003121817293296325874&quot;&gt;&lt;Field Name=&quot;IDName&quot; Value=&quot;(Leer)&quot;/&gt;&lt;/DocProp&gt;&lt;DocProp UID=&quot;2004112217333376588294&quot; EntryUID=&quot;2004123010144120300001&quot;&gt;&lt;Field UID=&quot;2010071616313160024822&quot; Name=&quot;PPLocationDate&quot; Value=&quot;Jegenstorf, 15.02.2013&quot;/&gt;&lt;Field UID=&quot;2010071616313204790203&quot; Name=&quot;PPFooter&quot; Value=&quot;Best Practice Amazom.com&quot;/&gt;&lt;/DocProp&gt;&lt;/DocProps&gt;&#10;"/>
  <p:tag name="EE4P_STYLE_ID" val="6cd991bf-f022-4378-96e7-2c338aeb3f5a"/>
  <p:tag name="THINKCELLUNDODONOTDELETE" val="0"/>
</p:tagLst>
</file>

<file path=ppt/theme/theme1.xml><?xml version="1.0" encoding="utf-8"?>
<a:theme xmlns:a="http://schemas.openxmlformats.org/drawingml/2006/main" name="blank">
  <a:themeElements>
    <a:clrScheme name="Benutzerdefiniert 3">
      <a:dk1>
        <a:srgbClr val="000000"/>
      </a:dk1>
      <a:lt1>
        <a:srgbClr val="FFFFFF"/>
      </a:lt1>
      <a:dk2>
        <a:srgbClr val="FF9914"/>
      </a:dk2>
      <a:lt2>
        <a:srgbClr val="CCCCCC"/>
      </a:lt2>
      <a:accent1>
        <a:srgbClr val="E30613"/>
      </a:accent1>
      <a:accent2>
        <a:srgbClr val="6BC5D3"/>
      </a:accent2>
      <a:accent3>
        <a:srgbClr val="F8F5C7"/>
      </a:accent3>
      <a:accent4>
        <a:srgbClr val="C77BA1"/>
      </a:accent4>
      <a:accent5>
        <a:srgbClr val="BFD9A4"/>
      </a:accent5>
      <a:accent6>
        <a:srgbClr val="E7E733"/>
      </a:accent6>
      <a:hlink>
        <a:srgbClr val="3999CC"/>
      </a:hlink>
      <a:folHlink>
        <a:srgbClr val="99CC39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30000"/>
          </a:spcBef>
          <a:spcAft>
            <a:spcPct val="0"/>
          </a:spcAft>
          <a:buClrTx/>
          <a:buSzTx/>
          <a:buFontTx/>
          <a:buNone/>
          <a:tabLst/>
          <a:defRPr kumimoji="0" lang="de-CH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30000"/>
          </a:spcBef>
          <a:spcAft>
            <a:spcPct val="0"/>
          </a:spcAft>
          <a:buClrTx/>
          <a:buSzTx/>
          <a:buFontTx/>
          <a:buNone/>
          <a:tabLst/>
          <a:defRPr kumimoji="0" lang="de-CH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FF9914"/>
        </a:dk2>
        <a:lt2>
          <a:srgbClr val="CCCCCC"/>
        </a:lt2>
        <a:accent1>
          <a:srgbClr val="FF6600"/>
        </a:accent1>
        <a:accent2>
          <a:srgbClr val="FFFF39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E733"/>
        </a:accent6>
        <a:hlink>
          <a:srgbClr val="3999CC"/>
        </a:hlink>
        <a:folHlink>
          <a:srgbClr val="99CC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Vorlage_ID_150dpi.pptx [Schreibgeschützt]" id="{28299DBA-7B7E-4785-8230-CB27554D2520}" vid="{5F691B23-C1FA-4AF2-A3DC-C0A84BF26B65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Projectdocument" ma:contentTypeID="0x010100E3341E2C5D6F48729CD5E623A8CCB51F00F1BB8487EA1A7544BE7145475AE69C74" ma:contentTypeVersion="4" ma:contentTypeDescription="Ein neues Dokument erstellen." ma:contentTypeScope="" ma:versionID="fdaa09da14ec18bc26c2ac349769de6b">
  <xsd:schema xmlns:xsd="http://www.w3.org/2001/XMLSchema" xmlns:xs="http://www.w3.org/2001/XMLSchema" xmlns:p="http://schemas.microsoft.com/office/2006/metadata/properties" xmlns:ns2="3a920184-c7cb-422b-bd8a-f581432dcdf0" xmlns:ns3="52a7626c-403e-49b7-9f3c-d19d1931ad83" targetNamespace="http://schemas.microsoft.com/office/2006/metadata/properties" ma:root="true" ma:fieldsID="84c1203ba7833fcec9f4c7b72cb018fc" ns2:_="" ns3:_="">
    <xsd:import namespace="3a920184-c7cb-422b-bd8a-f581432dcdf0"/>
    <xsd:import namespace="52a7626c-403e-49b7-9f3c-d19d1931ad83"/>
    <xsd:element name="properties">
      <xsd:complexType>
        <xsd:sequence>
          <xsd:element name="documentManagement">
            <xsd:complexType>
              <xsd:all>
                <xsd:element ref="ns2:Dokumentart_0" minOccurs="0"/>
                <xsd:element ref="ns2:TaxCatchAll" minOccurs="0"/>
                <xsd:element ref="ns2:TaxCatchAllLabel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920184-c7cb-422b-bd8a-f581432dcdf0" elementFormDefault="qualified">
    <xsd:import namespace="http://schemas.microsoft.com/office/2006/documentManagement/types"/>
    <xsd:import namespace="http://schemas.microsoft.com/office/infopath/2007/PartnerControls"/>
    <xsd:element name="Dokumentart_0" ma:index="8" nillable="true" ma:taxonomy="true" ma:internalName="Dokumentart_0" ma:taxonomyFieldName="Dokumentart" ma:displayName="Dokumentart" ma:fieldId="{e2165c43-35bf-4935-8116-c7c19c262bd0}" ma:sspId="eda88417-3483-4fed-b058-94d1cbc00fd7" ma:termSetId="a3909c1e-0e73-4ef8-9a02-f2db08b1af7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fc057341-8356-46e6-9280-959d205e551a}" ma:internalName="TaxCatchAll" ma:showField="CatchAllData" ma:web="52a7626c-403e-49b7-9f3c-d19d1931ad8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fc057341-8356-46e6-9280-959d205e551a}" ma:internalName="TaxCatchAllLabel" ma:readOnly="true" ma:showField="CatchAllDataLabel" ma:web="52a7626c-403e-49b7-9f3c-d19d1931ad8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a7626c-403e-49b7-9f3c-d19d1931ad83" elementFormDefault="qualified">
    <xsd:import namespace="http://schemas.microsoft.com/office/2006/documentManagement/types"/>
    <xsd:import namespace="http://schemas.microsoft.com/office/infopath/2007/PartnerControls"/>
    <xsd:element name="_dlc_DocId" ma:index="12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3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4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LongProperties xmlns="http://schemas.microsoft.com/office/2006/metadata/longProperties"/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52a7626c-403e-49b7-9f3c-d19d1931ad83">COOP029013-670072079-827</_dlc_DocId>
    <_dlc_DocIdUrl xmlns="52a7626c-403e-49b7-9f3c-d19d1931ad83">
      <Url>https://sharepoint.coop.ch/sites/85866cd6c8104d71ac6cebae5a07830d/d2c639d734914aaf930835c4ed7b8c65/_layouts/15/DocIdRedir.aspx?ID=COOP029013-670072079-827</Url>
      <Description>COOP029013-670072079-827</Description>
    </_dlc_DocIdUrl>
    <TaxCatchAll xmlns="3a920184-c7cb-422b-bd8a-f581432dcdf0"/>
    <Dokumentart_0 xmlns="3a920184-c7cb-422b-bd8a-f581432dcdf0">
      <Terms xmlns="http://schemas.microsoft.com/office/infopath/2007/PartnerControls"/>
    </Dokumentart_0>
  </documentManagement>
</p:propertie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?mso-contentType ?>
<SharedContentType xmlns="Microsoft.SharePoint.Taxonomy.ContentTypeSync" SourceId="eda88417-3483-4fed-b058-94d1cbc00fd7" ContentTypeId="0x010100E3341E2C5D6F48729CD5E623A8CCB51F" PreviousValue="false"/>
</file>

<file path=customXml/itemProps1.xml><?xml version="1.0" encoding="utf-8"?>
<ds:datastoreItem xmlns:ds="http://schemas.openxmlformats.org/officeDocument/2006/customXml" ds:itemID="{37428FCE-F9ED-48FC-B785-44F792A057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a920184-c7cb-422b-bd8a-f581432dcdf0"/>
    <ds:schemaRef ds:uri="52a7626c-403e-49b7-9f3c-d19d1931ad8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B041100-3350-47EC-A180-D71EA3BFF7C5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E26AD39D-AD0F-4596-B8D6-61A6D41C38C0}">
  <ds:schemaRefs>
    <ds:schemaRef ds:uri="http://schemas.microsoft.com/office/2006/metadata/longProperties"/>
  </ds:schemaRefs>
</ds:datastoreItem>
</file>

<file path=customXml/itemProps4.xml><?xml version="1.0" encoding="utf-8"?>
<ds:datastoreItem xmlns:ds="http://schemas.openxmlformats.org/officeDocument/2006/customXml" ds:itemID="{02205B8E-30C3-457A-9472-2AF101AF9FF2}">
  <ds:schemaRefs>
    <ds:schemaRef ds:uri="3a920184-c7cb-422b-bd8a-f581432dcdf0"/>
    <ds:schemaRef ds:uri="52a7626c-403e-49b7-9f3c-d19d1931ad83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5.xml><?xml version="1.0" encoding="utf-8"?>
<ds:datastoreItem xmlns:ds="http://schemas.openxmlformats.org/officeDocument/2006/customXml" ds:itemID="{4B677863-61FC-41F5-9B50-556D91A55B6C}">
  <ds:schemaRefs>
    <ds:schemaRef ds:uri="http://schemas.microsoft.com/sharepoint/v3/contenttype/forms"/>
  </ds:schemaRefs>
</ds:datastoreItem>
</file>

<file path=customXml/itemProps6.xml><?xml version="1.0" encoding="utf-8"?>
<ds:datastoreItem xmlns:ds="http://schemas.openxmlformats.org/officeDocument/2006/customXml" ds:itemID="{9B7D5E2B-B2C9-421C-9CF7-AFE2D406B21C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4</Words>
  <Application>Microsoft Macintosh PowerPoint</Application>
  <PresentationFormat>Breitbild</PresentationFormat>
  <Paragraphs>24</Paragraphs>
  <Slides>5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1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7" baseType="lpstr">
      <vt:lpstr>Arial</vt:lpstr>
      <vt:lpstr>blank</vt:lpstr>
      <vt:lpstr>Change Management Interdiscount</vt:lpstr>
      <vt:lpstr>Change Management Diagramm</vt:lpstr>
      <vt:lpstr>Ablauf</vt:lpstr>
      <vt:lpstr>Formular</vt:lpstr>
      <vt:lpstr>Vielen Dank für Ihre Aufmerksamkeit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nge Management Interdiscount</dc:title>
  <dc:creator>Gomes Batista Laura</dc:creator>
  <cp:lastModifiedBy>Gomes Batista Laura</cp:lastModifiedBy>
  <cp:revision>3</cp:revision>
  <cp:lastPrinted>2016-05-31T16:33:43Z</cp:lastPrinted>
  <dcterms:created xsi:type="dcterms:W3CDTF">2020-11-24T07:21:32Z</dcterms:created>
  <dcterms:modified xsi:type="dcterms:W3CDTF">2020-11-24T07:46:04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341E2C5D6F48729CD5E623A8CCB51F00F1BB8487EA1A7544BE7145475AE69C74</vt:lpwstr>
  </property>
  <property fmtid="{D5CDD505-2E9C-101B-9397-08002B2CF9AE}" pid="3" name="ContentType">
    <vt:lpwstr>Powerpoint</vt:lpwstr>
  </property>
  <property fmtid="{D5CDD505-2E9C-101B-9397-08002B2CF9AE}" pid="4" name="DocumentID">
    <vt:lpwstr/>
  </property>
  <property fmtid="{D5CDD505-2E9C-101B-9397-08002B2CF9AE}" pid="5" name="_dlc_DocId">
    <vt:lpwstr>COOP003188-13-738</vt:lpwstr>
  </property>
  <property fmtid="{D5CDD505-2E9C-101B-9397-08002B2CF9AE}" pid="6" name="_dlc_DocIdItemGuid">
    <vt:lpwstr>a0dbb6f4-b518-4c38-8ad9-d765a65adfb3</vt:lpwstr>
  </property>
  <property fmtid="{D5CDD505-2E9C-101B-9397-08002B2CF9AE}" pid="7" name="_dlc_DocIdUrl">
    <vt:lpwstr>https://sharepoint.coop.ch/sites/c24afb2f69e74fcf98706b0ba13d9d7a/7ccbcf7c4d4843c4a58d71acaaec1606/_layouts/15/DocIdRedir.aspx?ID=COOP003188-13-738, COOP003188-13-738</vt:lpwstr>
  </property>
  <property fmtid="{D5CDD505-2E9C-101B-9397-08002B2CF9AE}" pid="8" name="Dokumentart">
    <vt:lpwstr/>
  </property>
</Properties>
</file>